
<file path=[Content_Types].xml><?xml version="1.0" encoding="utf-8"?>
<Types xmlns="http://schemas.openxmlformats.org/package/2006/content-types">
  <Default Extension="glb" ContentType="model/gltf.binary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4"/>
    <p:sldMasterId id="2147483709" r:id="rId5"/>
  </p:sldMasterIdLst>
  <p:notesMasterIdLst>
    <p:notesMasterId r:id="rId47"/>
  </p:notesMasterIdLst>
  <p:handoutMasterIdLst>
    <p:handoutMasterId r:id="rId48"/>
  </p:handoutMasterIdLst>
  <p:sldIdLst>
    <p:sldId id="262" r:id="rId6"/>
    <p:sldId id="586" r:id="rId7"/>
    <p:sldId id="642" r:id="rId8"/>
    <p:sldId id="649" r:id="rId9"/>
    <p:sldId id="650" r:id="rId10"/>
    <p:sldId id="674" r:id="rId11"/>
    <p:sldId id="675" r:id="rId12"/>
    <p:sldId id="676" r:id="rId13"/>
    <p:sldId id="651" r:id="rId14"/>
    <p:sldId id="643" r:id="rId15"/>
    <p:sldId id="652" r:id="rId16"/>
    <p:sldId id="654" r:id="rId17"/>
    <p:sldId id="665" r:id="rId18"/>
    <p:sldId id="678" r:id="rId19"/>
    <p:sldId id="679" r:id="rId20"/>
    <p:sldId id="680" r:id="rId21"/>
    <p:sldId id="686" r:id="rId22"/>
    <p:sldId id="660" r:id="rId23"/>
    <p:sldId id="687" r:id="rId24"/>
    <p:sldId id="655" r:id="rId25"/>
    <p:sldId id="685" r:id="rId26"/>
    <p:sldId id="681" r:id="rId27"/>
    <p:sldId id="684" r:id="rId28"/>
    <p:sldId id="644" r:id="rId29"/>
    <p:sldId id="658" r:id="rId30"/>
    <p:sldId id="661" r:id="rId31"/>
    <p:sldId id="663" r:id="rId32"/>
    <p:sldId id="645" r:id="rId33"/>
    <p:sldId id="623" r:id="rId34"/>
    <p:sldId id="648" r:id="rId35"/>
    <p:sldId id="646" r:id="rId36"/>
    <p:sldId id="667" r:id="rId37"/>
    <p:sldId id="677" r:id="rId38"/>
    <p:sldId id="668" r:id="rId39"/>
    <p:sldId id="669" r:id="rId40"/>
    <p:sldId id="647" r:id="rId41"/>
    <p:sldId id="682" r:id="rId42"/>
    <p:sldId id="625" r:id="rId43"/>
    <p:sldId id="620" r:id="rId44"/>
    <p:sldId id="599" r:id="rId45"/>
    <p:sldId id="631" r:id="rId46"/>
  </p:sldIdLst>
  <p:sldSz cx="12192000" cy="6858000"/>
  <p:notesSz cx="6858000" cy="9144000"/>
  <p:custDataLst>
    <p:tags r:id="rId4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seite" id="{9AFD9A65-2C14-4BD7-9469-F5EC1E936BD4}">
          <p14:sldIdLst>
            <p14:sldId id="262"/>
            <p14:sldId id="586"/>
            <p14:sldId id="642"/>
            <p14:sldId id="649"/>
            <p14:sldId id="650"/>
            <p14:sldId id="674"/>
            <p14:sldId id="675"/>
            <p14:sldId id="676"/>
            <p14:sldId id="651"/>
            <p14:sldId id="643"/>
            <p14:sldId id="652"/>
            <p14:sldId id="654"/>
            <p14:sldId id="665"/>
            <p14:sldId id="678"/>
            <p14:sldId id="679"/>
            <p14:sldId id="680"/>
            <p14:sldId id="686"/>
            <p14:sldId id="660"/>
            <p14:sldId id="687"/>
            <p14:sldId id="655"/>
            <p14:sldId id="685"/>
            <p14:sldId id="681"/>
            <p14:sldId id="684"/>
            <p14:sldId id="644"/>
            <p14:sldId id="658"/>
            <p14:sldId id="661"/>
            <p14:sldId id="663"/>
            <p14:sldId id="645"/>
            <p14:sldId id="623"/>
            <p14:sldId id="648"/>
            <p14:sldId id="646"/>
            <p14:sldId id="667"/>
            <p14:sldId id="677"/>
            <p14:sldId id="668"/>
            <p14:sldId id="669"/>
            <p14:sldId id="647"/>
            <p14:sldId id="682"/>
            <p14:sldId id="625"/>
            <p14:sldId id="620"/>
            <p14:sldId id="599"/>
            <p14:sldId id="63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ogelc.tmt22" initials="v" lastIdx="1" clrIdx="0">
    <p:extLst>
      <p:ext uri="{19B8F6BF-5375-455C-9EA6-DF929625EA0E}">
        <p15:presenceInfo xmlns:p15="http://schemas.microsoft.com/office/powerpoint/2012/main" userId="S-1-5-21-3381381580-3968739288-3351514432-499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8990"/>
    <a:srgbClr val="7F7F7F"/>
    <a:srgbClr val="E2001A"/>
    <a:srgbClr val="E93D51"/>
    <a:srgbClr val="CC9B00"/>
    <a:srgbClr val="00B0F0"/>
    <a:srgbClr val="BBC1C5"/>
    <a:srgbClr val="FFFFFF"/>
    <a:srgbClr val="A6A6A6"/>
    <a:srgbClr val="BABA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459C265-AB5F-422D-82F9-261FFE09CB50}" v="5" dt="2025-06-24T13:35:05.1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54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notesMaster" Target="notesMasters/notesMaster1.xml"/><Relationship Id="rId50" Type="http://schemas.openxmlformats.org/officeDocument/2006/relationships/commentAuthors" Target="commentAuthors.xml"/><Relationship Id="rId55" Type="http://schemas.microsoft.com/office/2016/11/relationships/changesInfo" Target="changesInfos/changesInfo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handoutMaster" Target="handoutMasters/handoutMaster1.xml"/><Relationship Id="rId56" Type="http://schemas.microsoft.com/office/2015/10/relationships/revisionInfo" Target="revisionInfo.xml"/><Relationship Id="rId8" Type="http://schemas.openxmlformats.org/officeDocument/2006/relationships/slide" Target="slides/slide3.xml"/><Relationship Id="rId51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ullingerm.tmt22" userId="S::bullingerm.tmt22@student.dhbw-heidenheim.de::9ce3b8b2-035f-4175-b301-998b03a50e38" providerId="AD" clId="Web-{6D727AD4-86FA-A2A5-0E26-E54B53E45016}"/>
    <pc:docChg chg="modSld">
      <pc:chgData name="bullingerm.tmt22" userId="S::bullingerm.tmt22@student.dhbw-heidenheim.de::9ce3b8b2-035f-4175-b301-998b03a50e38" providerId="AD" clId="Web-{6D727AD4-86FA-A2A5-0E26-E54B53E45016}" dt="2025-04-22T00:10:36.741" v="29" actId="20577"/>
      <pc:docMkLst>
        <pc:docMk/>
      </pc:docMkLst>
      <pc:sldChg chg="modSp">
        <pc:chgData name="bullingerm.tmt22" userId="S::bullingerm.tmt22@student.dhbw-heidenheim.de::9ce3b8b2-035f-4175-b301-998b03a50e38" providerId="AD" clId="Web-{6D727AD4-86FA-A2A5-0E26-E54B53E45016}" dt="2025-04-22T00:10:36.741" v="29" actId="20577"/>
        <pc:sldMkLst>
          <pc:docMk/>
          <pc:sldMk cId="3664439336" sldId="262"/>
        </pc:sldMkLst>
        <pc:spChg chg="mod">
          <ac:chgData name="bullingerm.tmt22" userId="S::bullingerm.tmt22@student.dhbw-heidenheim.de::9ce3b8b2-035f-4175-b301-998b03a50e38" providerId="AD" clId="Web-{6D727AD4-86FA-A2A5-0E26-E54B53E45016}" dt="2025-04-22T00:09:37.380" v="17" actId="20577"/>
          <ac:spMkLst>
            <pc:docMk/>
            <pc:sldMk cId="3664439336" sldId="262"/>
            <ac:spMk id="3" creationId="{3D5704D4-182D-2081-A931-337F4856B6A2}"/>
          </ac:spMkLst>
        </pc:spChg>
        <pc:spChg chg="mod">
          <ac:chgData name="bullingerm.tmt22" userId="S::bullingerm.tmt22@student.dhbw-heidenheim.de::9ce3b8b2-035f-4175-b301-998b03a50e38" providerId="AD" clId="Web-{6D727AD4-86FA-A2A5-0E26-E54B53E45016}" dt="2025-04-22T00:10:36.741" v="29" actId="20577"/>
          <ac:spMkLst>
            <pc:docMk/>
            <pc:sldMk cId="3664439336" sldId="262"/>
            <ac:spMk id="5" creationId="{2199AC7C-AE3C-424B-AE6F-C75CC60F5A24}"/>
          </ac:spMkLst>
        </pc:spChg>
      </pc:sldChg>
    </pc:docChg>
  </pc:docChgLst>
  <pc:docChgLst>
    <pc:chgData name="Franz Seibold" userId="df3edf2f-3342-4456-80d3-fdc875e3af8c" providerId="ADAL" clId="{8F83EBFC-0C2F-484F-8242-EEFEACA3E648}"/>
    <pc:docChg chg="undo redo custSel addSld modSld">
      <pc:chgData name="Franz Seibold" userId="df3edf2f-3342-4456-80d3-fdc875e3af8c" providerId="ADAL" clId="{8F83EBFC-0C2F-484F-8242-EEFEACA3E648}" dt="2025-04-22T09:26:19.881" v="608" actId="14100"/>
      <pc:docMkLst>
        <pc:docMk/>
      </pc:docMkLst>
      <pc:sldChg chg="addSp delSp modSp modAnim">
        <pc:chgData name="Franz Seibold" userId="df3edf2f-3342-4456-80d3-fdc875e3af8c" providerId="ADAL" clId="{8F83EBFC-0C2F-484F-8242-EEFEACA3E648}" dt="2025-04-22T08:31:10.515" v="602" actId="1076"/>
        <pc:sldMkLst>
          <pc:docMk/>
          <pc:sldMk cId="46571281" sldId="654"/>
        </pc:sldMkLst>
        <pc:spChg chg="add mo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4" creationId="{F44EC2EE-EE31-4266-94C3-A54F52859725}"/>
          </ac:spMkLst>
        </pc:spChg>
        <pc:spChg chg="add mo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7" creationId="{1DA36FF0-F7C2-4054-BD62-4C9BC53A925E}"/>
          </ac:spMkLst>
        </pc:spChg>
        <pc:spChg chg="add mo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8" creationId="{C3A59FAD-EB22-4BF6-AA45-6269F7C0B199}"/>
          </ac:spMkLst>
        </pc:spChg>
        <pc:spChg chg="add mo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9" creationId="{C8677ED6-1A5C-4193-8A33-E28D847FA0F5}"/>
          </ac:spMkLst>
        </pc:spChg>
        <pc:spChg chg="add mo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10" creationId="{68E1003B-5F8E-45F2-845A-F8CB4C0A55E7}"/>
          </ac:spMkLst>
        </pc:spChg>
        <pc:spChg chg="add mo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11" creationId="{293ED33E-C252-4949-8C59-2D36B7465CFC}"/>
          </ac:spMkLst>
        </pc:spChg>
        <pc:spChg chg="add mo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12" creationId="{5AE6DDE9-2836-45FA-A025-9C9D49F0362D}"/>
          </ac:spMkLst>
        </pc:spChg>
        <pc:spChg chg="add mo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13" creationId="{4AB89FC6-E4F0-42FE-8B57-7391A6463B81}"/>
          </ac:spMkLst>
        </pc:spChg>
        <pc:spChg chg="add mo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14" creationId="{3BFFB9E7-7CA8-4A48-8DAA-067999BA9ED9}"/>
          </ac:spMkLst>
        </pc:spChg>
        <pc:spChg chg="add mo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15" creationId="{26DFE5F8-0678-4E51-A4E4-87AC7E0A1021}"/>
          </ac:spMkLst>
        </pc:spChg>
        <pc:spChg chg="mo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21" creationId="{454E27AE-7658-41EA-A151-2EA2E0903A62}"/>
          </ac:spMkLst>
        </pc:spChg>
        <pc:spChg chg="add mo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22" creationId="{F7256AB8-4530-476E-8406-3C71DE70FD31}"/>
          </ac:spMkLst>
        </pc:spChg>
        <pc:spChg chg="add mo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23" creationId="{E466C47E-7A3E-4277-934C-CEB9899D8DDA}"/>
          </ac:spMkLst>
        </pc:spChg>
        <pc:spChg chg="add mo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24" creationId="{F3185BD7-2BC6-4E79-AB4A-831F6172DE22}"/>
          </ac:spMkLst>
        </pc:spChg>
        <pc:spChg chg="add mod or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25" creationId="{12A986E4-65A7-4AD7-A7EF-CE5306CB23EB}"/>
          </ac:spMkLst>
        </pc:spChg>
        <pc:spChg chg="add mod or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26" creationId="{FF6696AD-E85C-4DC1-9ABA-B7564129A183}"/>
          </ac:spMkLst>
        </pc:spChg>
        <pc:spChg chg="add mo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27" creationId="{C0A73017-61D7-42C1-84D1-0E240195D6B4}"/>
          </ac:spMkLst>
        </pc:spChg>
        <pc:spChg chg="add mo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28" creationId="{2BBFBA9C-E41B-41B8-8343-075BB621F022}"/>
          </ac:spMkLst>
        </pc:spChg>
        <pc:spChg chg="add mo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29" creationId="{B5E0FB2C-AC5F-40BE-AF6F-5A7F1B72C277}"/>
          </ac:spMkLst>
        </pc:spChg>
        <pc:spChg chg="add mod or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30" creationId="{F8CAEAA2-E89E-487A-8595-B69A2D399123}"/>
          </ac:spMkLst>
        </pc:spChg>
        <pc:spChg chg="add mod topLvl">
          <ac:chgData name="Franz Seibold" userId="df3edf2f-3342-4456-80d3-fdc875e3af8c" providerId="ADAL" clId="{8F83EBFC-0C2F-484F-8242-EEFEACA3E648}" dt="2025-04-22T08:27:56.120" v="549" actId="14100"/>
          <ac:spMkLst>
            <pc:docMk/>
            <pc:sldMk cId="46571281" sldId="654"/>
            <ac:spMk id="31" creationId="{9CB1E363-38EC-43CE-B6E2-224CC3757928}"/>
          </ac:spMkLst>
        </pc:spChg>
        <pc:spChg chg="add mod topLvl">
          <ac:chgData name="Franz Seibold" userId="df3edf2f-3342-4456-80d3-fdc875e3af8c" providerId="ADAL" clId="{8F83EBFC-0C2F-484F-8242-EEFEACA3E648}" dt="2025-04-22T08:27:53.424" v="548" actId="14100"/>
          <ac:spMkLst>
            <pc:docMk/>
            <pc:sldMk cId="46571281" sldId="654"/>
            <ac:spMk id="32" creationId="{0BE72D68-657C-4CEE-B8D9-215D1633E068}"/>
          </ac:spMkLst>
        </pc:spChg>
        <pc:spChg chg="add mod topLvl">
          <ac:chgData name="Franz Seibold" userId="df3edf2f-3342-4456-80d3-fdc875e3af8c" providerId="ADAL" clId="{8F83EBFC-0C2F-484F-8242-EEFEACA3E648}" dt="2025-04-22T08:28:21.632" v="558" actId="14100"/>
          <ac:spMkLst>
            <pc:docMk/>
            <pc:sldMk cId="46571281" sldId="654"/>
            <ac:spMk id="33" creationId="{2354F77B-8950-49AC-8086-F7CF332EAF6D}"/>
          </ac:spMkLst>
        </pc:spChg>
        <pc:spChg chg="add mod topLvl">
          <ac:chgData name="Franz Seibold" userId="df3edf2f-3342-4456-80d3-fdc875e3af8c" providerId="ADAL" clId="{8F83EBFC-0C2F-484F-8242-EEFEACA3E648}" dt="2025-04-22T08:28:15.666" v="556" actId="1076"/>
          <ac:spMkLst>
            <pc:docMk/>
            <pc:sldMk cId="46571281" sldId="654"/>
            <ac:spMk id="34" creationId="{620438B8-8E19-4748-AE45-91CCA4D4F0D4}"/>
          </ac:spMkLst>
        </pc:spChg>
        <pc:spChg chg="add mod topLvl">
          <ac:chgData name="Franz Seibold" userId="df3edf2f-3342-4456-80d3-fdc875e3af8c" providerId="ADAL" clId="{8F83EBFC-0C2F-484F-8242-EEFEACA3E648}" dt="2025-04-22T08:28:08.274" v="553" actId="14100"/>
          <ac:spMkLst>
            <pc:docMk/>
            <pc:sldMk cId="46571281" sldId="654"/>
            <ac:spMk id="35" creationId="{8A16B258-906C-4A41-B290-7ED2F42F38D7}"/>
          </ac:spMkLst>
        </pc:spChg>
        <pc:spChg chg="add mod topLvl">
          <ac:chgData name="Franz Seibold" userId="df3edf2f-3342-4456-80d3-fdc875e3af8c" providerId="ADAL" clId="{8F83EBFC-0C2F-484F-8242-EEFEACA3E648}" dt="2025-04-22T08:27:59.987" v="550" actId="14100"/>
          <ac:spMkLst>
            <pc:docMk/>
            <pc:sldMk cId="46571281" sldId="654"/>
            <ac:spMk id="36" creationId="{1615C6CA-DD37-4521-97A3-7FAA7154257A}"/>
          </ac:spMkLst>
        </pc:spChg>
        <pc:spChg chg="add mod topLvl">
          <ac:chgData name="Franz Seibold" userId="df3edf2f-3342-4456-80d3-fdc875e3af8c" providerId="ADAL" clId="{8F83EBFC-0C2F-484F-8242-EEFEACA3E648}" dt="2025-04-22T08:28:03.452" v="551" actId="14100"/>
          <ac:spMkLst>
            <pc:docMk/>
            <pc:sldMk cId="46571281" sldId="654"/>
            <ac:spMk id="37" creationId="{06F5071F-B002-4E0E-8519-2161E76CF4E9}"/>
          </ac:spMkLst>
        </pc:spChg>
        <pc:spChg chg="add mod topLvl">
          <ac:chgData name="Franz Seibold" userId="df3edf2f-3342-4456-80d3-fdc875e3af8c" providerId="ADAL" clId="{8F83EBFC-0C2F-484F-8242-EEFEACA3E648}" dt="2025-04-22T08:27:47.234" v="546" actId="403"/>
          <ac:spMkLst>
            <pc:docMk/>
            <pc:sldMk cId="46571281" sldId="654"/>
            <ac:spMk id="38" creationId="{40B0D291-00E0-4D50-BC9D-C3B8F490F9F6}"/>
          </ac:spMkLst>
        </pc:spChg>
        <pc:spChg chg="add mod topLvl">
          <ac:chgData name="Franz Seibold" userId="df3edf2f-3342-4456-80d3-fdc875e3af8c" providerId="ADAL" clId="{8F83EBFC-0C2F-484F-8242-EEFEACA3E648}" dt="2025-04-22T08:28:05.897" v="552" actId="14100"/>
          <ac:spMkLst>
            <pc:docMk/>
            <pc:sldMk cId="46571281" sldId="654"/>
            <ac:spMk id="39" creationId="{81293568-993D-4379-A052-FF88EF4B3588}"/>
          </ac:spMkLst>
        </pc:spChg>
        <pc:spChg chg="add mod">
          <ac:chgData name="Franz Seibold" userId="df3edf2f-3342-4456-80d3-fdc875e3af8c" providerId="ADAL" clId="{8F83EBFC-0C2F-484F-8242-EEFEACA3E648}" dt="2025-04-22T08:28:25.293" v="559" actId="14100"/>
          <ac:spMkLst>
            <pc:docMk/>
            <pc:sldMk cId="46571281" sldId="654"/>
            <ac:spMk id="73" creationId="{63C7F8AD-3C37-40A4-AD1F-D4FCB262D762}"/>
          </ac:spMkLst>
        </pc:spChg>
        <pc:spChg chg="add mod">
          <ac:chgData name="Franz Seibold" userId="df3edf2f-3342-4456-80d3-fdc875e3af8c" providerId="ADAL" clId="{8F83EBFC-0C2F-484F-8242-EEFEACA3E648}" dt="2025-04-22T08:31:10.515" v="602" actId="1076"/>
          <ac:spMkLst>
            <pc:docMk/>
            <pc:sldMk cId="46571281" sldId="654"/>
            <ac:spMk id="99" creationId="{769F035B-934A-450F-BABF-460BDAADED8B}"/>
          </ac:spMkLst>
        </pc:spChg>
        <pc:spChg chg="add mod">
          <ac:chgData name="Franz Seibold" userId="df3edf2f-3342-4456-80d3-fdc875e3af8c" providerId="ADAL" clId="{8F83EBFC-0C2F-484F-8242-EEFEACA3E648}" dt="2025-04-22T08:31:10.515" v="602" actId="1076"/>
          <ac:spMkLst>
            <pc:docMk/>
            <pc:sldMk cId="46571281" sldId="654"/>
            <ac:spMk id="102" creationId="{FF43F2A8-8E82-4372-A652-39AD8FB3250A}"/>
          </ac:spMkLst>
        </pc:spChg>
        <pc:spChg chg="add mod">
          <ac:chgData name="Franz Seibold" userId="df3edf2f-3342-4456-80d3-fdc875e3af8c" providerId="ADAL" clId="{8F83EBFC-0C2F-484F-8242-EEFEACA3E648}" dt="2025-04-22T08:31:10.515" v="602" actId="1076"/>
          <ac:spMkLst>
            <pc:docMk/>
            <pc:sldMk cId="46571281" sldId="654"/>
            <ac:spMk id="103" creationId="{205E6649-E4F5-4F06-B058-6EF3BC0BAC06}"/>
          </ac:spMkLst>
        </pc:spChg>
        <pc:cxnChg chg="add mod topLvl">
          <ac:chgData name="Franz Seibold" userId="df3edf2f-3342-4456-80d3-fdc875e3af8c" providerId="ADAL" clId="{8F83EBFC-0C2F-484F-8242-EEFEACA3E648}" dt="2025-04-22T08:27:56.120" v="549" actId="14100"/>
          <ac:cxnSpMkLst>
            <pc:docMk/>
            <pc:sldMk cId="46571281" sldId="654"/>
            <ac:cxnSpMk id="41" creationId="{39E8A650-F164-4839-9096-E9F68AFE179B}"/>
          </ac:cxnSpMkLst>
        </pc:cxnChg>
        <pc:cxnChg chg="add mod">
          <ac:chgData name="Franz Seibold" userId="df3edf2f-3342-4456-80d3-fdc875e3af8c" providerId="ADAL" clId="{8F83EBFC-0C2F-484F-8242-EEFEACA3E648}" dt="2025-04-22T08:28:25.293" v="559" actId="14100"/>
          <ac:cxnSpMkLst>
            <pc:docMk/>
            <pc:sldMk cId="46571281" sldId="654"/>
            <ac:cxnSpMk id="44" creationId="{F5EDDE37-66BC-4BDD-A452-B9726EE1D22F}"/>
          </ac:cxnSpMkLst>
        </pc:cxnChg>
        <pc:cxnChg chg="add mod topLvl">
          <ac:chgData name="Franz Seibold" userId="df3edf2f-3342-4456-80d3-fdc875e3af8c" providerId="ADAL" clId="{8F83EBFC-0C2F-484F-8242-EEFEACA3E648}" dt="2025-04-22T08:27:53.424" v="548" actId="14100"/>
          <ac:cxnSpMkLst>
            <pc:docMk/>
            <pc:sldMk cId="46571281" sldId="654"/>
            <ac:cxnSpMk id="45" creationId="{76688020-1E8A-4B3B-9746-7529DCEA8C36}"/>
          </ac:cxnSpMkLst>
        </pc:cxnChg>
        <pc:cxnChg chg="add mod topLvl">
          <ac:chgData name="Franz Seibold" userId="df3edf2f-3342-4456-80d3-fdc875e3af8c" providerId="ADAL" clId="{8F83EBFC-0C2F-484F-8242-EEFEACA3E648}" dt="2025-04-22T08:28:21.632" v="558" actId="14100"/>
          <ac:cxnSpMkLst>
            <pc:docMk/>
            <pc:sldMk cId="46571281" sldId="654"/>
            <ac:cxnSpMk id="46" creationId="{FE9AE135-32F2-45A3-A961-4D70D658D12B}"/>
          </ac:cxnSpMkLst>
        </pc:cxnChg>
        <pc:cxnChg chg="add mod topLvl">
          <ac:chgData name="Franz Seibold" userId="df3edf2f-3342-4456-80d3-fdc875e3af8c" providerId="ADAL" clId="{8F83EBFC-0C2F-484F-8242-EEFEACA3E648}" dt="2025-04-22T08:28:18.411" v="557" actId="14100"/>
          <ac:cxnSpMkLst>
            <pc:docMk/>
            <pc:sldMk cId="46571281" sldId="654"/>
            <ac:cxnSpMk id="47" creationId="{D1EC59DD-E6AE-408E-B91C-62A11DAE2E47}"/>
          </ac:cxnSpMkLst>
        </pc:cxnChg>
        <pc:cxnChg chg="add mod topLvl">
          <ac:chgData name="Franz Seibold" userId="df3edf2f-3342-4456-80d3-fdc875e3af8c" providerId="ADAL" clId="{8F83EBFC-0C2F-484F-8242-EEFEACA3E648}" dt="2025-04-22T08:28:08.274" v="553" actId="14100"/>
          <ac:cxnSpMkLst>
            <pc:docMk/>
            <pc:sldMk cId="46571281" sldId="654"/>
            <ac:cxnSpMk id="48" creationId="{14227907-9E88-4EEB-8CA0-23DC5BBB4AA9}"/>
          </ac:cxnSpMkLst>
        </pc:cxnChg>
        <pc:cxnChg chg="add mod topLvl">
          <ac:chgData name="Franz Seibold" userId="df3edf2f-3342-4456-80d3-fdc875e3af8c" providerId="ADAL" clId="{8F83EBFC-0C2F-484F-8242-EEFEACA3E648}" dt="2025-04-22T08:28:03.452" v="551" actId="14100"/>
          <ac:cxnSpMkLst>
            <pc:docMk/>
            <pc:sldMk cId="46571281" sldId="654"/>
            <ac:cxnSpMk id="49" creationId="{C1DC32DF-9769-4BD2-A635-3C77FB1D3185}"/>
          </ac:cxnSpMkLst>
        </pc:cxnChg>
        <pc:cxnChg chg="add mod topLvl">
          <ac:chgData name="Franz Seibold" userId="df3edf2f-3342-4456-80d3-fdc875e3af8c" providerId="ADAL" clId="{8F83EBFC-0C2F-484F-8242-EEFEACA3E648}" dt="2025-04-22T08:28:05.897" v="552" actId="14100"/>
          <ac:cxnSpMkLst>
            <pc:docMk/>
            <pc:sldMk cId="46571281" sldId="654"/>
            <ac:cxnSpMk id="50" creationId="{A77A1DD0-6BB7-4A41-9456-1F112E49F5EC}"/>
          </ac:cxnSpMkLst>
        </pc:cxnChg>
        <pc:cxnChg chg="add mod topLvl">
          <ac:chgData name="Franz Seibold" userId="df3edf2f-3342-4456-80d3-fdc875e3af8c" providerId="ADAL" clId="{8F83EBFC-0C2F-484F-8242-EEFEACA3E648}" dt="2025-04-22T08:27:59.987" v="550" actId="14100"/>
          <ac:cxnSpMkLst>
            <pc:docMk/>
            <pc:sldMk cId="46571281" sldId="654"/>
            <ac:cxnSpMk id="51" creationId="{FD5F7960-8839-40CE-AB0A-BE45849E8AA7}"/>
          </ac:cxnSpMkLst>
        </pc:cxnChg>
      </pc:sldChg>
      <pc:sldChg chg="modSp add">
        <pc:chgData name="Franz Seibold" userId="df3edf2f-3342-4456-80d3-fdc875e3af8c" providerId="ADAL" clId="{8F83EBFC-0C2F-484F-8242-EEFEACA3E648}" dt="2025-04-22T09:26:19.881" v="608" actId="14100"/>
        <pc:sldMkLst>
          <pc:docMk/>
          <pc:sldMk cId="1194765832" sldId="659"/>
        </pc:sldMkLst>
      </pc:sldChg>
    </pc:docChg>
  </pc:docChgLst>
  <pc:docChgLst>
    <pc:chgData name="maurerh.tmb22" userId="S::maurerh.tmb22@student.dhbw-heidenheim.de::7aa1423c-8795-49e0-8989-d53f8102476c" providerId="AD" clId="Web-{F45592C3-4666-62FE-E64E-862D7A5B74A9}"/>
    <pc:docChg chg="addSld modSld modSection">
      <pc:chgData name="maurerh.tmb22" userId="S::maurerh.tmb22@student.dhbw-heidenheim.de::7aa1423c-8795-49e0-8989-d53f8102476c" providerId="AD" clId="Web-{F45592C3-4666-62FE-E64E-862D7A5B74A9}" dt="2025-04-22T11:39:23.997" v="17"/>
      <pc:docMkLst>
        <pc:docMk/>
      </pc:docMkLst>
      <pc:sldChg chg="addSp delSp modSp add replId">
        <pc:chgData name="maurerh.tmb22" userId="S::maurerh.tmb22@student.dhbw-heidenheim.de::7aa1423c-8795-49e0-8989-d53f8102476c" providerId="AD" clId="Web-{F45592C3-4666-62FE-E64E-862D7A5B74A9}" dt="2025-04-22T11:39:23.997" v="17"/>
        <pc:sldMkLst>
          <pc:docMk/>
          <pc:sldMk cId="3106000447" sldId="678"/>
        </pc:sldMkLst>
      </pc:sldChg>
      <pc:sldChg chg="modSp add replId">
        <pc:chgData name="maurerh.tmb22" userId="S::maurerh.tmb22@student.dhbw-heidenheim.de::7aa1423c-8795-49e0-8989-d53f8102476c" providerId="AD" clId="Web-{F45592C3-4666-62FE-E64E-862D7A5B74A9}" dt="2025-04-22T11:36:12.912" v="15" actId="20577"/>
        <pc:sldMkLst>
          <pc:docMk/>
          <pc:sldMk cId="1916272374" sldId="679"/>
        </pc:sldMkLst>
      </pc:sldChg>
    </pc:docChg>
  </pc:docChgLst>
  <pc:docChgLst>
    <pc:chgData name="Frida Stähle" userId="737d0583-0f84-4afa-9d32-9dff97d0f705" providerId="ADAL" clId="{FDF6F29E-CDD5-4746-A592-8C55017E98B4}"/>
    <pc:docChg chg="modSld">
      <pc:chgData name="Frida Stähle" userId="737d0583-0f84-4afa-9d32-9dff97d0f705" providerId="ADAL" clId="{FDF6F29E-CDD5-4746-A592-8C55017E98B4}" dt="2025-04-22T13:43:03.443" v="22" actId="12"/>
      <pc:docMkLst>
        <pc:docMk/>
      </pc:docMkLst>
      <pc:sldChg chg="modSp modAnim">
        <pc:chgData name="Frida Stähle" userId="737d0583-0f84-4afa-9d32-9dff97d0f705" providerId="ADAL" clId="{FDF6F29E-CDD5-4746-A592-8C55017E98B4}" dt="2025-04-22T13:43:03.443" v="22" actId="12"/>
        <pc:sldMkLst>
          <pc:docMk/>
          <pc:sldMk cId="581652493" sldId="663"/>
        </pc:sldMkLst>
        <pc:spChg chg="mod">
          <ac:chgData name="Frida Stähle" userId="737d0583-0f84-4afa-9d32-9dff97d0f705" providerId="ADAL" clId="{FDF6F29E-CDD5-4746-A592-8C55017E98B4}" dt="2025-04-22T13:43:03.443" v="22" actId="12"/>
          <ac:spMkLst>
            <pc:docMk/>
            <pc:sldMk cId="581652493" sldId="663"/>
            <ac:spMk id="12" creationId="{D288ABF8-46DC-E62D-7AD6-9A0F9A110BDC}"/>
          </ac:spMkLst>
        </pc:spChg>
      </pc:sldChg>
    </pc:docChg>
  </pc:docChgLst>
  <pc:docChgLst>
    <pc:chgData name="Annika Häberle" userId="e23f6701-6707-4a4b-a757-e56ad2eaf1e8" providerId="ADAL" clId="{DA55367C-76A9-4FB5-9C1E-037C336E9A2C}"/>
    <pc:docChg chg="undo custSel addSld delSld modSld modSection">
      <pc:chgData name="Annika Häberle" userId="e23f6701-6707-4a4b-a757-e56ad2eaf1e8" providerId="ADAL" clId="{DA55367C-76A9-4FB5-9C1E-037C336E9A2C}" dt="2025-04-22T13:51:44.730" v="2566" actId="12"/>
      <pc:docMkLst>
        <pc:docMk/>
      </pc:docMkLst>
      <pc:sldChg chg="modSp">
        <pc:chgData name="Annika Häberle" userId="e23f6701-6707-4a4b-a757-e56ad2eaf1e8" providerId="ADAL" clId="{DA55367C-76A9-4FB5-9C1E-037C336E9A2C}" dt="2025-04-22T12:42:30.920" v="1981" actId="20577"/>
        <pc:sldMkLst>
          <pc:docMk/>
          <pc:sldMk cId="3664439336" sldId="262"/>
        </pc:sldMkLst>
        <pc:spChg chg="mod">
          <ac:chgData name="Annika Häberle" userId="e23f6701-6707-4a4b-a757-e56ad2eaf1e8" providerId="ADAL" clId="{DA55367C-76A9-4FB5-9C1E-037C336E9A2C}" dt="2025-04-22T12:42:30.920" v="1981" actId="20577"/>
          <ac:spMkLst>
            <pc:docMk/>
            <pc:sldMk cId="3664439336" sldId="262"/>
            <ac:spMk id="14" creationId="{C0024835-3B3D-40D8-8601-9961D5A4F2F4}"/>
          </ac:spMkLst>
        </pc:spChg>
        <pc:picChg chg="mod">
          <ac:chgData name="Annika Häberle" userId="e23f6701-6707-4a4b-a757-e56ad2eaf1e8" providerId="ADAL" clId="{DA55367C-76A9-4FB5-9C1E-037C336E9A2C}" dt="2025-04-22T12:42:01.405" v="1974" actId="14100"/>
          <ac:picMkLst>
            <pc:docMk/>
            <pc:sldMk cId="3664439336" sldId="262"/>
            <ac:picMk id="4" creationId="{098160E6-8D61-094D-9A9C-2A9B894C7DFA}"/>
          </ac:picMkLst>
        </pc:picChg>
      </pc:sldChg>
      <pc:sldChg chg="modSp">
        <pc:chgData name="Annika Häberle" userId="e23f6701-6707-4a4b-a757-e56ad2eaf1e8" providerId="ADAL" clId="{DA55367C-76A9-4FB5-9C1E-037C336E9A2C}" dt="2025-04-22T12:59:01.508" v="2195" actId="6549"/>
        <pc:sldMkLst>
          <pc:docMk/>
          <pc:sldMk cId="1339647628" sldId="586"/>
        </pc:sldMkLst>
        <pc:spChg chg="mod">
          <ac:chgData name="Annika Häberle" userId="e23f6701-6707-4a4b-a757-e56ad2eaf1e8" providerId="ADAL" clId="{DA55367C-76A9-4FB5-9C1E-037C336E9A2C}" dt="2025-04-22T12:59:01.508" v="2195" actId="6549"/>
          <ac:spMkLst>
            <pc:docMk/>
            <pc:sldMk cId="1339647628" sldId="586"/>
            <ac:spMk id="27" creationId="{3BB66AA5-4B7C-2F44-5823-118EA5A5E1CD}"/>
          </ac:spMkLst>
        </pc:spChg>
      </pc:sldChg>
      <pc:sldChg chg="del">
        <pc:chgData name="Annika Häberle" userId="e23f6701-6707-4a4b-a757-e56ad2eaf1e8" providerId="ADAL" clId="{DA55367C-76A9-4FB5-9C1E-037C336E9A2C}" dt="2025-04-22T12:17:39.506" v="1901" actId="2696"/>
        <pc:sldMkLst>
          <pc:docMk/>
          <pc:sldMk cId="1986987989" sldId="624"/>
        </pc:sldMkLst>
      </pc:sldChg>
      <pc:sldChg chg="del">
        <pc:chgData name="Annika Häberle" userId="e23f6701-6707-4a4b-a757-e56ad2eaf1e8" providerId="ADAL" clId="{DA55367C-76A9-4FB5-9C1E-037C336E9A2C}" dt="2025-04-22T12:17:48.176" v="1904" actId="2696"/>
        <pc:sldMkLst>
          <pc:docMk/>
          <pc:sldMk cId="2756117336" sldId="630"/>
        </pc:sldMkLst>
      </pc:sldChg>
      <pc:sldChg chg="del">
        <pc:chgData name="Annika Häberle" userId="e23f6701-6707-4a4b-a757-e56ad2eaf1e8" providerId="ADAL" clId="{DA55367C-76A9-4FB5-9C1E-037C336E9A2C}" dt="2025-04-22T12:17:45.639" v="1903" actId="2696"/>
        <pc:sldMkLst>
          <pc:docMk/>
          <pc:sldMk cId="3087557768" sldId="632"/>
        </pc:sldMkLst>
      </pc:sldChg>
      <pc:sldChg chg="del">
        <pc:chgData name="Annika Häberle" userId="e23f6701-6707-4a4b-a757-e56ad2eaf1e8" providerId="ADAL" clId="{DA55367C-76A9-4FB5-9C1E-037C336E9A2C}" dt="2025-04-22T12:18:08.254" v="1908" actId="2696"/>
        <pc:sldMkLst>
          <pc:docMk/>
          <pc:sldMk cId="3905572149" sldId="633"/>
        </pc:sldMkLst>
      </pc:sldChg>
      <pc:sldChg chg="del">
        <pc:chgData name="Annika Häberle" userId="e23f6701-6707-4a4b-a757-e56ad2eaf1e8" providerId="ADAL" clId="{DA55367C-76A9-4FB5-9C1E-037C336E9A2C}" dt="2025-04-22T12:18:04.334" v="1907" actId="2696"/>
        <pc:sldMkLst>
          <pc:docMk/>
          <pc:sldMk cId="3525816418" sldId="634"/>
        </pc:sldMkLst>
      </pc:sldChg>
      <pc:sldChg chg="del">
        <pc:chgData name="Annika Häberle" userId="e23f6701-6707-4a4b-a757-e56ad2eaf1e8" providerId="ADAL" clId="{DA55367C-76A9-4FB5-9C1E-037C336E9A2C}" dt="2025-04-22T12:17:52.640" v="1905" actId="2696"/>
        <pc:sldMkLst>
          <pc:docMk/>
          <pc:sldMk cId="568729345" sldId="635"/>
        </pc:sldMkLst>
      </pc:sldChg>
      <pc:sldChg chg="del">
        <pc:chgData name="Annika Häberle" userId="e23f6701-6707-4a4b-a757-e56ad2eaf1e8" providerId="ADAL" clId="{DA55367C-76A9-4FB5-9C1E-037C336E9A2C}" dt="2025-04-22T12:17:58.315" v="1906" actId="2696"/>
        <pc:sldMkLst>
          <pc:docMk/>
          <pc:sldMk cId="1433932889" sldId="636"/>
        </pc:sldMkLst>
      </pc:sldChg>
      <pc:sldChg chg="del">
        <pc:chgData name="Annika Häberle" userId="e23f6701-6707-4a4b-a757-e56ad2eaf1e8" providerId="ADAL" clId="{DA55367C-76A9-4FB5-9C1E-037C336E9A2C}" dt="2025-04-22T12:17:36.310" v="1900" actId="2696"/>
        <pc:sldMkLst>
          <pc:docMk/>
          <pc:sldMk cId="259873060" sldId="637"/>
        </pc:sldMkLst>
      </pc:sldChg>
      <pc:sldChg chg="del">
        <pc:chgData name="Annika Häberle" userId="e23f6701-6707-4a4b-a757-e56ad2eaf1e8" providerId="ADAL" clId="{DA55367C-76A9-4FB5-9C1E-037C336E9A2C}" dt="2025-04-22T12:17:42.920" v="1902" actId="2696"/>
        <pc:sldMkLst>
          <pc:docMk/>
          <pc:sldMk cId="612847529" sldId="638"/>
        </pc:sldMkLst>
      </pc:sldChg>
      <pc:sldChg chg="modNotesTx">
        <pc:chgData name="Annika Häberle" userId="e23f6701-6707-4a4b-a757-e56ad2eaf1e8" providerId="ADAL" clId="{DA55367C-76A9-4FB5-9C1E-037C336E9A2C}" dt="2025-04-22T12:47:37.390" v="2189" actId="5793"/>
        <pc:sldMkLst>
          <pc:docMk/>
          <pc:sldMk cId="3837770887" sldId="649"/>
        </pc:sldMkLst>
      </pc:sldChg>
      <pc:sldChg chg="addSp delSp modSp delAnim modAnim modNotesTx">
        <pc:chgData name="Annika Häberle" userId="e23f6701-6707-4a4b-a757-e56ad2eaf1e8" providerId="ADAL" clId="{DA55367C-76A9-4FB5-9C1E-037C336E9A2C}" dt="2025-04-22T13:08:10.917" v="2232" actId="1076"/>
        <pc:sldMkLst>
          <pc:docMk/>
          <pc:sldMk cId="2269644659" sldId="650"/>
        </pc:sldMkLst>
        <pc:spChg chg="add mod">
          <ac:chgData name="Annika Häberle" userId="e23f6701-6707-4a4b-a757-e56ad2eaf1e8" providerId="ADAL" clId="{DA55367C-76A9-4FB5-9C1E-037C336E9A2C}" dt="2025-04-22T13:08:10.917" v="2232" actId="1076"/>
          <ac:spMkLst>
            <pc:docMk/>
            <pc:sldMk cId="2269644659" sldId="650"/>
            <ac:spMk id="12" creationId="{85E16572-9A4A-43EE-99B8-69E7B83F5A74}"/>
          </ac:spMkLst>
        </pc:spChg>
        <pc:spChg chg="mod">
          <ac:chgData name="Annika Häberle" userId="e23f6701-6707-4a4b-a757-e56ad2eaf1e8" providerId="ADAL" clId="{DA55367C-76A9-4FB5-9C1E-037C336E9A2C}" dt="2025-04-22T11:24:57.658" v="1497" actId="20577"/>
          <ac:spMkLst>
            <pc:docMk/>
            <pc:sldMk cId="2269644659" sldId="650"/>
            <ac:spMk id="43" creationId="{97A1965C-43A2-0D3A-BCD3-947EA12F6236}"/>
          </ac:spMkLst>
        </pc:spChg>
        <pc:graphicFrameChg chg="add mod">
          <ac:chgData name="Annika Häberle" userId="e23f6701-6707-4a4b-a757-e56ad2eaf1e8" providerId="ADAL" clId="{DA55367C-76A9-4FB5-9C1E-037C336E9A2C}" dt="2025-04-22T12:23:20.962" v="1952" actId="1076"/>
          <ac:graphicFrameMkLst>
            <pc:docMk/>
            <pc:sldMk cId="2269644659" sldId="650"/>
            <ac:graphicFrameMk id="11" creationId="{ADB1EFCF-53C3-4F71-9FDB-B514A1573597}"/>
          </ac:graphicFrameMkLst>
        </pc:graphicFrameChg>
      </pc:sldChg>
      <pc:sldChg chg="addSp delSp modSp modNotesTx">
        <pc:chgData name="Annika Häberle" userId="e23f6701-6707-4a4b-a757-e56ad2eaf1e8" providerId="ADAL" clId="{DA55367C-76A9-4FB5-9C1E-037C336E9A2C}" dt="2025-04-22T13:40:46.937" v="2529" actId="20577"/>
        <pc:sldMkLst>
          <pc:docMk/>
          <pc:sldMk cId="2840064016" sldId="651"/>
        </pc:sldMkLst>
        <pc:spChg chg="add mod">
          <ac:chgData name="Annika Häberle" userId="e23f6701-6707-4a4b-a757-e56ad2eaf1e8" providerId="ADAL" clId="{DA55367C-76A9-4FB5-9C1E-037C336E9A2C}" dt="2025-04-22T13:00:32.782" v="2212" actId="14100"/>
          <ac:spMkLst>
            <pc:docMk/>
            <pc:sldMk cId="2840064016" sldId="651"/>
            <ac:spMk id="10" creationId="{22C04358-03CB-40BD-A771-BA1DE3A042D4}"/>
          </ac:spMkLst>
        </pc:spChg>
        <pc:picChg chg="add mod">
          <ac:chgData name="Annika Häberle" userId="e23f6701-6707-4a4b-a757-e56ad2eaf1e8" providerId="ADAL" clId="{DA55367C-76A9-4FB5-9C1E-037C336E9A2C}" dt="2025-04-22T12:24:22.178" v="1958" actId="1076"/>
          <ac:picMkLst>
            <pc:docMk/>
            <pc:sldMk cId="2840064016" sldId="651"/>
            <ac:picMk id="9" creationId="{DEEAFA82-0EB9-47AD-9110-E9D74C870F1D}"/>
          </ac:picMkLst>
        </pc:picChg>
      </pc:sldChg>
      <pc:sldChg chg="modSp">
        <pc:chgData name="Annika Häberle" userId="e23f6701-6707-4a4b-a757-e56ad2eaf1e8" providerId="ADAL" clId="{DA55367C-76A9-4FB5-9C1E-037C336E9A2C}" dt="2025-04-22T13:41:15.847" v="2531" actId="1076"/>
        <pc:sldMkLst>
          <pc:docMk/>
          <pc:sldMk cId="3388882345" sldId="652"/>
        </pc:sldMkLst>
        <pc:spChg chg="mod">
          <ac:chgData name="Annika Häberle" userId="e23f6701-6707-4a4b-a757-e56ad2eaf1e8" providerId="ADAL" clId="{DA55367C-76A9-4FB5-9C1E-037C336E9A2C}" dt="2025-04-22T13:41:15.847" v="2531" actId="1076"/>
          <ac:spMkLst>
            <pc:docMk/>
            <pc:sldMk cId="3388882345" sldId="652"/>
            <ac:spMk id="4" creationId="{801F26D2-C9E0-6F6D-D67C-1792E4552236}"/>
          </ac:spMkLst>
        </pc:spChg>
      </pc:sldChg>
      <pc:sldChg chg="del">
        <pc:chgData name="Annika Häberle" userId="e23f6701-6707-4a4b-a757-e56ad2eaf1e8" providerId="ADAL" clId="{DA55367C-76A9-4FB5-9C1E-037C336E9A2C}" dt="2025-04-22T10:38:45.251" v="81" actId="2696"/>
        <pc:sldMkLst>
          <pc:docMk/>
          <pc:sldMk cId="1652655923" sldId="657"/>
        </pc:sldMkLst>
      </pc:sldChg>
      <pc:sldChg chg="modSp">
        <pc:chgData name="Annika Häberle" userId="e23f6701-6707-4a4b-a757-e56ad2eaf1e8" providerId="ADAL" clId="{DA55367C-76A9-4FB5-9C1E-037C336E9A2C}" dt="2025-04-22T13:43:04.578" v="2553" actId="1076"/>
        <pc:sldMkLst>
          <pc:docMk/>
          <pc:sldMk cId="2182309661" sldId="661"/>
        </pc:sldMkLst>
        <pc:picChg chg="mod">
          <ac:chgData name="Annika Häberle" userId="e23f6701-6707-4a4b-a757-e56ad2eaf1e8" providerId="ADAL" clId="{DA55367C-76A9-4FB5-9C1E-037C336E9A2C}" dt="2025-04-22T13:43:04.578" v="2553" actId="1076"/>
          <ac:picMkLst>
            <pc:docMk/>
            <pc:sldMk cId="2182309661" sldId="661"/>
            <ac:picMk id="7" creationId="{7EC7A606-EF2A-C3A9-1770-D78266903BEC}"/>
          </ac:picMkLst>
        </pc:picChg>
      </pc:sldChg>
      <pc:sldChg chg="modSp modAnim">
        <pc:chgData name="Annika Häberle" userId="e23f6701-6707-4a4b-a757-e56ad2eaf1e8" providerId="ADAL" clId="{DA55367C-76A9-4FB5-9C1E-037C336E9A2C}" dt="2025-04-22T13:44:04.414" v="2561" actId="20577"/>
        <pc:sldMkLst>
          <pc:docMk/>
          <pc:sldMk cId="581652493" sldId="663"/>
        </pc:sldMkLst>
        <pc:spChg chg="mod">
          <ac:chgData name="Annika Häberle" userId="e23f6701-6707-4a4b-a757-e56ad2eaf1e8" providerId="ADAL" clId="{DA55367C-76A9-4FB5-9C1E-037C336E9A2C}" dt="2025-04-22T13:44:04.414" v="2561" actId="20577"/>
          <ac:spMkLst>
            <pc:docMk/>
            <pc:sldMk cId="581652493" sldId="663"/>
            <ac:spMk id="12" creationId="{D288ABF8-46DC-E62D-7AD6-9A0F9A110BDC}"/>
          </ac:spMkLst>
        </pc:spChg>
      </pc:sldChg>
      <pc:sldChg chg="modSp">
        <pc:chgData name="Annika Häberle" userId="e23f6701-6707-4a4b-a757-e56ad2eaf1e8" providerId="ADAL" clId="{DA55367C-76A9-4FB5-9C1E-037C336E9A2C}" dt="2025-04-22T13:41:26.440" v="2532" actId="1076"/>
        <pc:sldMkLst>
          <pc:docMk/>
          <pc:sldMk cId="3141788730" sldId="665"/>
        </pc:sldMkLst>
        <pc:spChg chg="mod">
          <ac:chgData name="Annika Häberle" userId="e23f6701-6707-4a4b-a757-e56ad2eaf1e8" providerId="ADAL" clId="{DA55367C-76A9-4FB5-9C1E-037C336E9A2C}" dt="2025-04-22T13:41:26.440" v="2532" actId="1076"/>
          <ac:spMkLst>
            <pc:docMk/>
            <pc:sldMk cId="3141788730" sldId="665"/>
            <ac:spMk id="7" creationId="{AFCE89D9-849E-F028-7BE9-A9187E0A5535}"/>
          </ac:spMkLst>
        </pc:spChg>
        <pc:picChg chg="mod">
          <ac:chgData name="Annika Häberle" userId="e23f6701-6707-4a4b-a757-e56ad2eaf1e8" providerId="ADAL" clId="{DA55367C-76A9-4FB5-9C1E-037C336E9A2C}" dt="2025-04-22T12:30:30.915" v="1959" actId="1076"/>
          <ac:picMkLst>
            <pc:docMk/>
            <pc:sldMk cId="3141788730" sldId="665"/>
            <ac:picMk id="8" creationId="{4E439D08-1C9A-F799-3738-73CB505222FB}"/>
          </ac:picMkLst>
        </pc:picChg>
      </pc:sldChg>
      <pc:sldChg chg="addSp delSp modSp add delAnim modAnim">
        <pc:chgData name="Annika Häberle" userId="e23f6701-6707-4a4b-a757-e56ad2eaf1e8" providerId="ADAL" clId="{DA55367C-76A9-4FB5-9C1E-037C336E9A2C}" dt="2025-04-22T10:55:24.813" v="315" actId="20577"/>
        <pc:sldMkLst>
          <pc:docMk/>
          <pc:sldMk cId="3585174266" sldId="666"/>
        </pc:sldMkLst>
      </pc:sldChg>
      <pc:sldChg chg="modSp">
        <pc:chgData name="Annika Häberle" userId="e23f6701-6707-4a4b-a757-e56ad2eaf1e8" providerId="ADAL" clId="{DA55367C-76A9-4FB5-9C1E-037C336E9A2C}" dt="2025-04-22T13:05:01.986" v="2228" actId="1076"/>
        <pc:sldMkLst>
          <pc:docMk/>
          <pc:sldMk cId="861624178" sldId="667"/>
        </pc:sldMkLst>
        <pc:picChg chg="mod">
          <ac:chgData name="Annika Häberle" userId="e23f6701-6707-4a4b-a757-e56ad2eaf1e8" providerId="ADAL" clId="{DA55367C-76A9-4FB5-9C1E-037C336E9A2C}" dt="2025-04-22T13:05:01.986" v="2228" actId="1076"/>
          <ac:picMkLst>
            <pc:docMk/>
            <pc:sldMk cId="861624178" sldId="667"/>
            <ac:picMk id="2" creationId="{BD858A9D-17CE-9D22-E6B2-F762E83009D8}"/>
          </ac:picMkLst>
        </pc:picChg>
      </pc:sldChg>
      <pc:sldChg chg="addSp delSp modSp add delAnim modAnim">
        <pc:chgData name="Annika Häberle" userId="e23f6701-6707-4a4b-a757-e56ad2eaf1e8" providerId="ADAL" clId="{DA55367C-76A9-4FB5-9C1E-037C336E9A2C}" dt="2025-04-22T10:50:57.139" v="100"/>
        <pc:sldMkLst>
          <pc:docMk/>
          <pc:sldMk cId="1520689549" sldId="667"/>
        </pc:sldMkLst>
      </pc:sldChg>
      <pc:sldChg chg="modSp">
        <pc:chgData name="Annika Häberle" userId="e23f6701-6707-4a4b-a757-e56ad2eaf1e8" providerId="ADAL" clId="{DA55367C-76A9-4FB5-9C1E-037C336E9A2C}" dt="2025-04-22T13:51:23.842" v="2564" actId="12"/>
        <pc:sldMkLst>
          <pc:docMk/>
          <pc:sldMk cId="1314778286" sldId="668"/>
        </pc:sldMkLst>
        <pc:spChg chg="mod">
          <ac:chgData name="Annika Häberle" userId="e23f6701-6707-4a4b-a757-e56ad2eaf1e8" providerId="ADAL" clId="{DA55367C-76A9-4FB5-9C1E-037C336E9A2C}" dt="2025-04-22T13:51:23.842" v="2564" actId="12"/>
          <ac:spMkLst>
            <pc:docMk/>
            <pc:sldMk cId="1314778286" sldId="668"/>
            <ac:spMk id="5" creationId="{096AD823-263C-343F-E7A9-9838E189D069}"/>
          </ac:spMkLst>
        </pc:spChg>
        <pc:picChg chg="mod">
          <ac:chgData name="Annika Häberle" userId="e23f6701-6707-4a4b-a757-e56ad2eaf1e8" providerId="ADAL" clId="{DA55367C-76A9-4FB5-9C1E-037C336E9A2C}" dt="2025-04-22T13:03:07.242" v="2224" actId="1076"/>
          <ac:picMkLst>
            <pc:docMk/>
            <pc:sldMk cId="1314778286" sldId="668"/>
            <ac:picMk id="2" creationId="{BA6C7EBB-D7D4-E90A-BE0D-55137861BC67}"/>
          </ac:picMkLst>
        </pc:picChg>
      </pc:sldChg>
      <pc:sldChg chg="addSp delSp modSp add modAnim">
        <pc:chgData name="Annika Häberle" userId="e23f6701-6707-4a4b-a757-e56ad2eaf1e8" providerId="ADAL" clId="{DA55367C-76A9-4FB5-9C1E-037C336E9A2C}" dt="2025-04-22T10:58:06.376" v="427" actId="20577"/>
        <pc:sldMkLst>
          <pc:docMk/>
          <pc:sldMk cId="3141084410" sldId="668"/>
        </pc:sldMkLst>
      </pc:sldChg>
      <pc:sldChg chg="modSp">
        <pc:chgData name="Annika Häberle" userId="e23f6701-6707-4a4b-a757-e56ad2eaf1e8" providerId="ADAL" clId="{DA55367C-76A9-4FB5-9C1E-037C336E9A2C}" dt="2025-04-22T13:51:44.730" v="2566" actId="12"/>
        <pc:sldMkLst>
          <pc:docMk/>
          <pc:sldMk cId="1086977521" sldId="669"/>
        </pc:sldMkLst>
        <pc:spChg chg="mod">
          <ac:chgData name="Annika Häberle" userId="e23f6701-6707-4a4b-a757-e56ad2eaf1e8" providerId="ADAL" clId="{DA55367C-76A9-4FB5-9C1E-037C336E9A2C}" dt="2025-04-22T13:51:44.730" v="2566" actId="12"/>
          <ac:spMkLst>
            <pc:docMk/>
            <pc:sldMk cId="1086977521" sldId="669"/>
            <ac:spMk id="7" creationId="{EC63AE0B-A659-4E88-AC99-E9C572E1313E}"/>
          </ac:spMkLst>
        </pc:spChg>
      </pc:sldChg>
      <pc:sldChg chg="del">
        <pc:chgData name="Annika Häberle" userId="e23f6701-6707-4a4b-a757-e56ad2eaf1e8" providerId="ADAL" clId="{DA55367C-76A9-4FB5-9C1E-037C336E9A2C}" dt="2025-04-22T11:02:30.596" v="431" actId="2696"/>
        <pc:sldMkLst>
          <pc:docMk/>
          <pc:sldMk cId="543452474" sldId="671"/>
        </pc:sldMkLst>
      </pc:sldChg>
      <pc:sldChg chg="del">
        <pc:chgData name="Annika Häberle" userId="e23f6701-6707-4a4b-a757-e56ad2eaf1e8" providerId="ADAL" clId="{DA55367C-76A9-4FB5-9C1E-037C336E9A2C}" dt="2025-04-22T11:02:26.756" v="430" actId="2696"/>
        <pc:sldMkLst>
          <pc:docMk/>
          <pc:sldMk cId="1248099481" sldId="672"/>
        </pc:sldMkLst>
      </pc:sldChg>
      <pc:sldChg chg="del">
        <pc:chgData name="Annika Häberle" userId="e23f6701-6707-4a4b-a757-e56ad2eaf1e8" providerId="ADAL" clId="{DA55367C-76A9-4FB5-9C1E-037C336E9A2C}" dt="2025-04-22T11:02:23.274" v="429" actId="2696"/>
        <pc:sldMkLst>
          <pc:docMk/>
          <pc:sldMk cId="2762745259" sldId="673"/>
        </pc:sldMkLst>
      </pc:sldChg>
      <pc:sldChg chg="modSp">
        <pc:chgData name="Annika Häberle" userId="e23f6701-6707-4a4b-a757-e56ad2eaf1e8" providerId="ADAL" clId="{DA55367C-76A9-4FB5-9C1E-037C336E9A2C}" dt="2025-04-22T13:17:36.250" v="2234" actId="20577"/>
        <pc:sldMkLst>
          <pc:docMk/>
          <pc:sldMk cId="3141084410" sldId="674"/>
        </pc:sldMkLst>
        <pc:spChg chg="mod">
          <ac:chgData name="Annika Häberle" userId="e23f6701-6707-4a4b-a757-e56ad2eaf1e8" providerId="ADAL" clId="{DA55367C-76A9-4FB5-9C1E-037C336E9A2C}" dt="2025-04-22T13:17:36.250" v="2234" actId="20577"/>
          <ac:spMkLst>
            <pc:docMk/>
            <pc:sldMk cId="3141084410" sldId="674"/>
            <ac:spMk id="2" creationId="{C34EE3EB-63A0-44BD-BCDA-B3735DB94192}"/>
          </ac:spMkLst>
        </pc:spChg>
        <pc:spChg chg="mod">
          <ac:chgData name="Annika Häberle" userId="e23f6701-6707-4a4b-a757-e56ad2eaf1e8" providerId="ADAL" clId="{DA55367C-76A9-4FB5-9C1E-037C336E9A2C}" dt="2025-04-22T13:00:07.365" v="2207" actId="255"/>
          <ac:spMkLst>
            <pc:docMk/>
            <pc:sldMk cId="3141084410" sldId="674"/>
            <ac:spMk id="10" creationId="{921FA003-4DF4-4043-881E-D1D0B481D84B}"/>
          </ac:spMkLst>
        </pc:spChg>
      </pc:sldChg>
      <pc:sldChg chg="modSp">
        <pc:chgData name="Annika Häberle" userId="e23f6701-6707-4a4b-a757-e56ad2eaf1e8" providerId="ADAL" clId="{DA55367C-76A9-4FB5-9C1E-037C336E9A2C}" dt="2025-04-22T13:00:21.991" v="2209" actId="403"/>
        <pc:sldMkLst>
          <pc:docMk/>
          <pc:sldMk cId="3585174266" sldId="675"/>
        </pc:sldMkLst>
        <pc:spChg chg="mod">
          <ac:chgData name="Annika Häberle" userId="e23f6701-6707-4a4b-a757-e56ad2eaf1e8" providerId="ADAL" clId="{DA55367C-76A9-4FB5-9C1E-037C336E9A2C}" dt="2025-04-22T13:00:21.991" v="2209" actId="403"/>
          <ac:spMkLst>
            <pc:docMk/>
            <pc:sldMk cId="3585174266" sldId="675"/>
            <ac:spMk id="9" creationId="{DF0AE70B-52DD-41C2-B405-B61F5C5D9AF4}"/>
          </ac:spMkLst>
        </pc:spChg>
        <pc:spChg chg="mod">
          <ac:chgData name="Annika Häberle" userId="e23f6701-6707-4a4b-a757-e56ad2eaf1e8" providerId="ADAL" clId="{DA55367C-76A9-4FB5-9C1E-037C336E9A2C}" dt="2025-04-22T13:00:21.991" v="2209" actId="403"/>
          <ac:spMkLst>
            <pc:docMk/>
            <pc:sldMk cId="3585174266" sldId="675"/>
            <ac:spMk id="10" creationId="{FE9C8518-7633-4540-8570-8A0D83BB4076}"/>
          </ac:spMkLst>
        </pc:spChg>
      </pc:sldChg>
      <pc:sldChg chg="addSp modSp">
        <pc:chgData name="Annika Häberle" userId="e23f6701-6707-4a4b-a757-e56ad2eaf1e8" providerId="ADAL" clId="{DA55367C-76A9-4FB5-9C1E-037C336E9A2C}" dt="2025-04-22T12:59:46.403" v="2203" actId="14100"/>
        <pc:sldMkLst>
          <pc:docMk/>
          <pc:sldMk cId="1520689549" sldId="676"/>
        </pc:sldMkLst>
        <pc:spChg chg="mod">
          <ac:chgData name="Annika Häberle" userId="e23f6701-6707-4a4b-a757-e56ad2eaf1e8" providerId="ADAL" clId="{DA55367C-76A9-4FB5-9C1E-037C336E9A2C}" dt="2025-04-22T12:59:39.642" v="2200" actId="14100"/>
          <ac:spMkLst>
            <pc:docMk/>
            <pc:sldMk cId="1520689549" sldId="676"/>
            <ac:spMk id="9" creationId="{FF18D207-05A0-4077-9520-789C7A5E5577}"/>
          </ac:spMkLst>
        </pc:spChg>
        <pc:spChg chg="add mod">
          <ac:chgData name="Annika Häberle" userId="e23f6701-6707-4a4b-a757-e56ad2eaf1e8" providerId="ADAL" clId="{DA55367C-76A9-4FB5-9C1E-037C336E9A2C}" dt="2025-04-22T12:59:46.403" v="2203" actId="14100"/>
          <ac:spMkLst>
            <pc:docMk/>
            <pc:sldMk cId="1520689549" sldId="676"/>
            <ac:spMk id="10" creationId="{D470E272-51C5-4ECD-B656-566C7880160F}"/>
          </ac:spMkLst>
        </pc:spChg>
      </pc:sldChg>
      <pc:sldChg chg="modSp">
        <pc:chgData name="Annika Häberle" userId="e23f6701-6707-4a4b-a757-e56ad2eaf1e8" providerId="ADAL" clId="{DA55367C-76A9-4FB5-9C1E-037C336E9A2C}" dt="2025-04-22T13:42:23.012" v="2547" actId="12"/>
        <pc:sldMkLst>
          <pc:docMk/>
          <pc:sldMk cId="1916272374" sldId="679"/>
        </pc:sldMkLst>
        <pc:spChg chg="mod">
          <ac:chgData name="Annika Häberle" userId="e23f6701-6707-4a4b-a757-e56ad2eaf1e8" providerId="ADAL" clId="{DA55367C-76A9-4FB5-9C1E-037C336E9A2C}" dt="2025-04-22T13:42:18.933" v="2546" actId="12"/>
          <ac:spMkLst>
            <pc:docMk/>
            <pc:sldMk cId="1916272374" sldId="679"/>
            <ac:spMk id="59" creationId="{2BED8017-E6D4-4B9B-AE87-05D05D8BEFC1}"/>
          </ac:spMkLst>
        </pc:spChg>
        <pc:spChg chg="mod">
          <ac:chgData name="Annika Häberle" userId="e23f6701-6707-4a4b-a757-e56ad2eaf1e8" providerId="ADAL" clId="{DA55367C-76A9-4FB5-9C1E-037C336E9A2C}" dt="2025-04-22T13:42:06.938" v="2543" actId="403"/>
          <ac:spMkLst>
            <pc:docMk/>
            <pc:sldMk cId="1916272374" sldId="679"/>
            <ac:spMk id="60" creationId="{622368D2-8004-4091-8FDB-2C8976587DF9}"/>
          </ac:spMkLst>
        </pc:spChg>
        <pc:spChg chg="mod">
          <ac:chgData name="Annika Häberle" userId="e23f6701-6707-4a4b-a757-e56ad2eaf1e8" providerId="ADAL" clId="{DA55367C-76A9-4FB5-9C1E-037C336E9A2C}" dt="2025-04-22T13:42:23.012" v="2547" actId="12"/>
          <ac:spMkLst>
            <pc:docMk/>
            <pc:sldMk cId="1916272374" sldId="679"/>
            <ac:spMk id="61" creationId="{C71ED1D8-1BC4-4599-9508-F818830F4ED5}"/>
          </ac:spMkLst>
        </pc:spChg>
      </pc:sldChg>
      <pc:sldChg chg="addSp modSp add">
        <pc:chgData name="Annika Häberle" userId="e23f6701-6707-4a4b-a757-e56ad2eaf1e8" providerId="ADAL" clId="{DA55367C-76A9-4FB5-9C1E-037C336E9A2C}" dt="2025-04-22T12:22:49.666" v="1949" actId="1076"/>
        <pc:sldMkLst>
          <pc:docMk/>
          <pc:sldMk cId="60939154" sldId="680"/>
        </pc:sldMkLst>
      </pc:sldChg>
      <pc:sldChg chg="add del">
        <pc:chgData name="Annika Häberle" userId="e23f6701-6707-4a4b-a757-e56ad2eaf1e8" providerId="ADAL" clId="{DA55367C-76A9-4FB5-9C1E-037C336E9A2C}" dt="2025-04-22T12:18:17.266" v="1910"/>
        <pc:sldMkLst>
          <pc:docMk/>
          <pc:sldMk cId="3585323660" sldId="680"/>
        </pc:sldMkLst>
      </pc:sldChg>
      <pc:sldChg chg="delSp modSp">
        <pc:chgData name="Annika Häberle" userId="e23f6701-6707-4a4b-a757-e56ad2eaf1e8" providerId="ADAL" clId="{DA55367C-76A9-4FB5-9C1E-037C336E9A2C}" dt="2025-04-22T13:42:55.321" v="2551" actId="14100"/>
        <pc:sldMkLst>
          <pc:docMk/>
          <pc:sldMk cId="2165355636" sldId="681"/>
        </pc:sldMkLst>
        <pc:picChg chg="mod">
          <ac:chgData name="Annika Häberle" userId="e23f6701-6707-4a4b-a757-e56ad2eaf1e8" providerId="ADAL" clId="{DA55367C-76A9-4FB5-9C1E-037C336E9A2C}" dt="2025-04-22T13:42:52.369" v="2550" actId="14100"/>
          <ac:picMkLst>
            <pc:docMk/>
            <pc:sldMk cId="2165355636" sldId="681"/>
            <ac:picMk id="7" creationId="{432B8317-9756-6037-9017-009DBC60138B}"/>
          </ac:picMkLst>
        </pc:picChg>
        <pc:picChg chg="mod">
          <ac:chgData name="Annika Häberle" userId="e23f6701-6707-4a4b-a757-e56ad2eaf1e8" providerId="ADAL" clId="{DA55367C-76A9-4FB5-9C1E-037C336E9A2C}" dt="2025-04-22T13:42:55.321" v="2551" actId="14100"/>
          <ac:picMkLst>
            <pc:docMk/>
            <pc:sldMk cId="2165355636" sldId="681"/>
            <ac:picMk id="11" creationId="{2A04BDDE-657B-FAB5-71C4-E2477D600BCE}"/>
          </ac:picMkLst>
        </pc:picChg>
      </pc:sldChg>
      <pc:sldChg chg="modSp">
        <pc:chgData name="Annika Häberle" userId="e23f6701-6707-4a4b-a757-e56ad2eaf1e8" providerId="ADAL" clId="{DA55367C-76A9-4FB5-9C1E-037C336E9A2C}" dt="2025-04-22T13:25:02.442" v="2259" actId="1076"/>
        <pc:sldMkLst>
          <pc:docMk/>
          <pc:sldMk cId="1266525283" sldId="686"/>
        </pc:sldMkLst>
        <pc:spChg chg="mod">
          <ac:chgData name="Annika Häberle" userId="e23f6701-6707-4a4b-a757-e56ad2eaf1e8" providerId="ADAL" clId="{DA55367C-76A9-4FB5-9C1E-037C336E9A2C}" dt="2025-04-22T13:25:02.442" v="2259" actId="1076"/>
          <ac:spMkLst>
            <pc:docMk/>
            <pc:sldMk cId="1266525283" sldId="686"/>
            <ac:spMk id="4" creationId="{8E82AE8B-6FED-4296-A4A8-0F89F3781839}"/>
          </ac:spMkLst>
        </pc:spChg>
        <pc:spChg chg="mod">
          <ac:chgData name="Annika Häberle" userId="e23f6701-6707-4a4b-a757-e56ad2eaf1e8" providerId="ADAL" clId="{DA55367C-76A9-4FB5-9C1E-037C336E9A2C}" dt="2025-04-22T13:24:57.827" v="2258" actId="1076"/>
          <ac:spMkLst>
            <pc:docMk/>
            <pc:sldMk cId="1266525283" sldId="686"/>
            <ac:spMk id="7" creationId="{8F854E29-798F-4687-B72D-B0C948D38373}"/>
          </ac:spMkLst>
        </pc:spChg>
        <pc:graphicFrameChg chg="mod">
          <ac:chgData name="Annika Häberle" userId="e23f6701-6707-4a4b-a757-e56ad2eaf1e8" providerId="ADAL" clId="{DA55367C-76A9-4FB5-9C1E-037C336E9A2C}" dt="2025-04-22T13:24:45.618" v="2255" actId="1076"/>
          <ac:graphicFrameMkLst>
            <pc:docMk/>
            <pc:sldMk cId="1266525283" sldId="686"/>
            <ac:graphicFrameMk id="10" creationId="{683BB71C-3E4A-4262-BBC6-66E7E7CD1E8E}"/>
          </ac:graphicFrameMkLst>
        </pc:graphicFrameChg>
      </pc:sldChg>
    </pc:docChg>
  </pc:docChgLst>
  <pc:docChgLst>
    <pc:chgData name="seiboldf.tmb22" userId="df3edf2f-3342-4456-80d3-fdc875e3af8c" providerId="ADAL" clId="{D3DF06ED-BE85-43D1-9D95-F20A3CAA1FB8}"/>
    <pc:docChg chg="custSel addSld delSld modSld sldOrd modSection">
      <pc:chgData name="seiboldf.tmb22" userId="df3edf2f-3342-4456-80d3-fdc875e3af8c" providerId="ADAL" clId="{D3DF06ED-BE85-43D1-9D95-F20A3CAA1FB8}" dt="2025-04-01T11:56:31.920" v="239"/>
      <pc:docMkLst>
        <pc:docMk/>
      </pc:docMkLst>
      <pc:sldChg chg="delSp modSp mod">
        <pc:chgData name="seiboldf.tmb22" userId="df3edf2f-3342-4456-80d3-fdc875e3af8c" providerId="ADAL" clId="{D3DF06ED-BE85-43D1-9D95-F20A3CAA1FB8}" dt="2025-04-01T11:36:49.584" v="10" actId="1076"/>
        <pc:sldMkLst>
          <pc:docMk/>
          <pc:sldMk cId="1339647628" sldId="586"/>
        </pc:sldMkLst>
      </pc:sldChg>
      <pc:sldChg chg="modSp mod">
        <pc:chgData name="seiboldf.tmb22" userId="df3edf2f-3342-4456-80d3-fdc875e3af8c" providerId="ADAL" clId="{D3DF06ED-BE85-43D1-9D95-F20A3CAA1FB8}" dt="2025-04-01T11:54:55.158" v="237" actId="20577"/>
        <pc:sldMkLst>
          <pc:docMk/>
          <pc:sldMk cId="3534934231" sldId="625"/>
        </pc:sldMkLst>
        <pc:spChg chg="mod">
          <ac:chgData name="seiboldf.tmb22" userId="df3edf2f-3342-4456-80d3-fdc875e3af8c" providerId="ADAL" clId="{D3DF06ED-BE85-43D1-9D95-F20A3CAA1FB8}" dt="2025-04-01T11:54:44.514" v="231" actId="20577"/>
          <ac:spMkLst>
            <pc:docMk/>
            <pc:sldMk cId="3534934231" sldId="625"/>
            <ac:spMk id="4" creationId="{3F7CB6E7-67CD-12EE-A1FF-528734C25D11}"/>
          </ac:spMkLst>
        </pc:spChg>
        <pc:spChg chg="mod">
          <ac:chgData name="seiboldf.tmb22" userId="df3edf2f-3342-4456-80d3-fdc875e3af8c" providerId="ADAL" clId="{D3DF06ED-BE85-43D1-9D95-F20A3CAA1FB8}" dt="2025-04-01T11:54:55.158" v="237" actId="20577"/>
          <ac:spMkLst>
            <pc:docMk/>
            <pc:sldMk cId="3534934231" sldId="625"/>
            <ac:spMk id="43" creationId="{E009228E-F4A7-4DAA-A2CE-4E0625D16262}"/>
          </ac:spMkLst>
        </pc:spChg>
      </pc:sldChg>
      <pc:sldChg chg="modSp mod">
        <pc:chgData name="seiboldf.tmb22" userId="df3edf2f-3342-4456-80d3-fdc875e3af8c" providerId="ADAL" clId="{D3DF06ED-BE85-43D1-9D95-F20A3CAA1FB8}" dt="2025-04-01T11:49:39.108" v="26" actId="20577"/>
        <pc:sldMkLst>
          <pc:docMk/>
          <pc:sldMk cId="2756117336" sldId="630"/>
        </pc:sldMkLst>
      </pc:sldChg>
      <pc:sldChg chg="ord">
        <pc:chgData name="seiboldf.tmb22" userId="df3edf2f-3342-4456-80d3-fdc875e3af8c" providerId="ADAL" clId="{D3DF06ED-BE85-43D1-9D95-F20A3CAA1FB8}" dt="2025-04-01T11:56:31.920" v="239"/>
        <pc:sldMkLst>
          <pc:docMk/>
          <pc:sldMk cId="52686789" sldId="631"/>
        </pc:sldMkLst>
      </pc:sldChg>
      <pc:sldChg chg="delSp modSp add mod">
        <pc:chgData name="seiboldf.tmb22" userId="df3edf2f-3342-4456-80d3-fdc875e3af8c" providerId="ADAL" clId="{D3DF06ED-BE85-43D1-9D95-F20A3CAA1FB8}" dt="2025-04-01T11:49:49.895" v="37" actId="20577"/>
        <pc:sldMkLst>
          <pc:docMk/>
          <pc:sldMk cId="3905572149" sldId="633"/>
        </pc:sldMkLst>
      </pc:sldChg>
      <pc:sldChg chg="modSp add mod">
        <pc:chgData name="seiboldf.tmb22" userId="df3edf2f-3342-4456-80d3-fdc875e3af8c" providerId="ADAL" clId="{D3DF06ED-BE85-43D1-9D95-F20A3CAA1FB8}" dt="2025-04-01T11:49:55.813" v="48" actId="20577"/>
        <pc:sldMkLst>
          <pc:docMk/>
          <pc:sldMk cId="3525816418" sldId="634"/>
        </pc:sldMkLst>
      </pc:sldChg>
      <pc:sldChg chg="addSp delSp modSp add mod">
        <pc:chgData name="seiboldf.tmb22" userId="df3edf2f-3342-4456-80d3-fdc875e3af8c" providerId="ADAL" clId="{D3DF06ED-BE85-43D1-9D95-F20A3CAA1FB8}" dt="2025-04-01T11:52:10.500" v="90" actId="1076"/>
        <pc:sldMkLst>
          <pc:docMk/>
          <pc:sldMk cId="568729345" sldId="635"/>
        </pc:sldMkLst>
      </pc:sldChg>
    </pc:docChg>
  </pc:docChgLst>
  <pc:docChgLst>
    <pc:chgData name="Christian Reile" userId="0b7e6988-e521-4a1e-900b-efd6b80549e1" providerId="ADAL" clId="{A1DA0570-4E03-4A15-AB9A-1B76EFA91AF1}"/>
    <pc:docChg chg="custSel addSld delSld modSld sldOrd modSection">
      <pc:chgData name="Christian Reile" userId="0b7e6988-e521-4a1e-900b-efd6b80549e1" providerId="ADAL" clId="{A1DA0570-4E03-4A15-AB9A-1B76EFA91AF1}" dt="2025-04-22T10:34:25.028" v="297" actId="1037"/>
      <pc:docMkLst>
        <pc:docMk/>
      </pc:docMkLst>
      <pc:sldChg chg="del">
        <pc:chgData name="Christian Reile" userId="0b7e6988-e521-4a1e-900b-efd6b80549e1" providerId="ADAL" clId="{A1DA0570-4E03-4A15-AB9A-1B76EFA91AF1}" dt="2025-04-22T10:19:49.535" v="157" actId="2696"/>
        <pc:sldMkLst>
          <pc:docMk/>
          <pc:sldMk cId="2588153059" sldId="664"/>
        </pc:sldMkLst>
      </pc:sldChg>
      <pc:sldChg chg="addSp delSp modSp add ord">
        <pc:chgData name="Christian Reile" userId="0b7e6988-e521-4a1e-900b-efd6b80549e1" providerId="ADAL" clId="{A1DA0570-4E03-4A15-AB9A-1B76EFA91AF1}" dt="2025-04-22T10:16:07.868" v="26" actId="1076"/>
        <pc:sldMkLst>
          <pc:docMk/>
          <pc:sldMk cId="544195729" sldId="665"/>
        </pc:sldMkLst>
      </pc:sldChg>
      <pc:sldChg chg="addSp delSp modSp add">
        <pc:chgData name="Christian Reile" userId="0b7e6988-e521-4a1e-900b-efd6b80549e1" providerId="ADAL" clId="{A1DA0570-4E03-4A15-AB9A-1B76EFA91AF1}" dt="2025-04-22T10:19:15.213" v="156" actId="1076"/>
        <pc:sldMkLst>
          <pc:docMk/>
          <pc:sldMk cId="1275637943" sldId="666"/>
        </pc:sldMkLst>
      </pc:sldChg>
      <pc:sldChg chg="addSp delSp modSp add">
        <pc:chgData name="Christian Reile" userId="0b7e6988-e521-4a1e-900b-efd6b80549e1" providerId="ADAL" clId="{A1DA0570-4E03-4A15-AB9A-1B76EFA91AF1}" dt="2025-04-22T10:34:25.028" v="297" actId="1037"/>
        <pc:sldMkLst>
          <pc:docMk/>
          <pc:sldMk cId="861624178" sldId="667"/>
        </pc:sldMkLst>
        <pc:spChg chg="mod">
          <ac:chgData name="Christian Reile" userId="0b7e6988-e521-4a1e-900b-efd6b80549e1" providerId="ADAL" clId="{A1DA0570-4E03-4A15-AB9A-1B76EFA91AF1}" dt="2025-04-22T10:16:55.074" v="57" actId="20577"/>
          <ac:spMkLst>
            <pc:docMk/>
            <pc:sldMk cId="861624178" sldId="667"/>
            <ac:spMk id="6" creationId="{E341A793-F460-43BE-93DF-D8C003D5736C}"/>
          </ac:spMkLst>
        </pc:spChg>
      </pc:sldChg>
      <pc:sldChg chg="delSp modSp add">
        <pc:chgData name="Christian Reile" userId="0b7e6988-e521-4a1e-900b-efd6b80549e1" providerId="ADAL" clId="{A1DA0570-4E03-4A15-AB9A-1B76EFA91AF1}" dt="2025-04-22T10:18:17.864" v="99" actId="20577"/>
        <pc:sldMkLst>
          <pc:docMk/>
          <pc:sldMk cId="1314778286" sldId="668"/>
        </pc:sldMkLst>
        <pc:spChg chg="mod">
          <ac:chgData name="Christian Reile" userId="0b7e6988-e521-4a1e-900b-efd6b80549e1" providerId="ADAL" clId="{A1DA0570-4E03-4A15-AB9A-1B76EFA91AF1}" dt="2025-04-22T10:18:17.864" v="99" actId="20577"/>
          <ac:spMkLst>
            <pc:docMk/>
            <pc:sldMk cId="1314778286" sldId="668"/>
            <ac:spMk id="6" creationId="{E341A793-F460-43BE-93DF-D8C003D5736C}"/>
          </ac:spMkLst>
        </pc:spChg>
      </pc:sldChg>
      <pc:sldChg chg="addSp modSp add">
        <pc:chgData name="Christian Reile" userId="0b7e6988-e521-4a1e-900b-efd6b80549e1" providerId="ADAL" clId="{A1DA0570-4E03-4A15-AB9A-1B76EFA91AF1}" dt="2025-04-22T10:18:47.146" v="155"/>
        <pc:sldMkLst>
          <pc:docMk/>
          <pc:sldMk cId="1086977521" sldId="669"/>
        </pc:sldMkLst>
        <pc:spChg chg="mod">
          <ac:chgData name="Christian Reile" userId="0b7e6988-e521-4a1e-900b-efd6b80549e1" providerId="ADAL" clId="{A1DA0570-4E03-4A15-AB9A-1B76EFA91AF1}" dt="2025-04-22T10:18:42.503" v="154" actId="20577"/>
          <ac:spMkLst>
            <pc:docMk/>
            <pc:sldMk cId="1086977521" sldId="669"/>
            <ac:spMk id="6" creationId="{E341A793-F460-43BE-93DF-D8C003D5736C}"/>
          </ac:spMkLst>
        </pc:spChg>
        <pc:spChg chg="add">
          <ac:chgData name="Christian Reile" userId="0b7e6988-e521-4a1e-900b-efd6b80549e1" providerId="ADAL" clId="{A1DA0570-4E03-4A15-AB9A-1B76EFA91AF1}" dt="2025-04-22T10:18:47.146" v="155"/>
          <ac:spMkLst>
            <pc:docMk/>
            <pc:sldMk cId="1086977521" sldId="669"/>
            <ac:spMk id="7" creationId="{EC63AE0B-A659-4E88-AC99-E9C572E1313E}"/>
          </ac:spMkLst>
        </pc:spChg>
      </pc:sldChg>
    </pc:docChg>
  </pc:docChgLst>
  <pc:docChgLst>
    <pc:chgData name="bullingerm.tmt22" userId="9ce3b8b2-035f-4175-b301-998b03a50e38" providerId="ADAL" clId="{141171B5-8533-4577-ACD0-930FC57440F8}"/>
    <pc:docChg chg="undo custSel addSld delSld modSld sldOrd modSection">
      <pc:chgData name="bullingerm.tmt22" userId="9ce3b8b2-035f-4175-b301-998b03a50e38" providerId="ADAL" clId="{141171B5-8533-4577-ACD0-930FC57440F8}" dt="2025-04-22T14:26:01.616" v="1581" actId="1036"/>
      <pc:docMkLst>
        <pc:docMk/>
      </pc:docMkLst>
      <pc:sldChg chg="addSp delSp modSp mod">
        <pc:chgData name="bullingerm.tmt22" userId="9ce3b8b2-035f-4175-b301-998b03a50e38" providerId="ADAL" clId="{141171B5-8533-4577-ACD0-930FC57440F8}" dt="2025-04-22T13:55:25.855" v="1236" actId="20577"/>
        <pc:sldMkLst>
          <pc:docMk/>
          <pc:sldMk cId="1339647628" sldId="586"/>
        </pc:sldMkLst>
        <pc:spChg chg="mod">
          <ac:chgData name="bullingerm.tmt22" userId="9ce3b8b2-035f-4175-b301-998b03a50e38" providerId="ADAL" clId="{141171B5-8533-4577-ACD0-930FC57440F8}" dt="2025-04-21T23:31:43.798" v="435" actId="207"/>
          <ac:spMkLst>
            <pc:docMk/>
            <pc:sldMk cId="1339647628" sldId="586"/>
            <ac:spMk id="637" creationId="{F7AB7BEA-EAED-6667-17BE-CE1655CA09FE}"/>
          </ac:spMkLst>
        </pc:spChg>
        <pc:spChg chg="mod">
          <ac:chgData name="bullingerm.tmt22" userId="9ce3b8b2-035f-4175-b301-998b03a50e38" providerId="ADAL" clId="{141171B5-8533-4577-ACD0-930FC57440F8}" dt="2025-04-21T23:31:43.798" v="435" actId="207"/>
          <ac:spMkLst>
            <pc:docMk/>
            <pc:sldMk cId="1339647628" sldId="586"/>
            <ac:spMk id="641" creationId="{6DF70B92-3E57-BCA6-2845-6846CE67C861}"/>
          </ac:spMkLst>
        </pc:spChg>
        <pc:spChg chg="mod">
          <ac:chgData name="bullingerm.tmt22" userId="9ce3b8b2-035f-4175-b301-998b03a50e38" providerId="ADAL" clId="{141171B5-8533-4577-ACD0-930FC57440F8}" dt="2025-04-21T23:31:43.798" v="435" actId="207"/>
          <ac:spMkLst>
            <pc:docMk/>
            <pc:sldMk cId="1339647628" sldId="586"/>
            <ac:spMk id="644" creationId="{DFF9F9A3-AF24-C8AD-3A65-78122E23EC32}"/>
          </ac:spMkLst>
        </pc:spChg>
        <pc:spChg chg="mod">
          <ac:chgData name="bullingerm.tmt22" userId="9ce3b8b2-035f-4175-b301-998b03a50e38" providerId="ADAL" clId="{141171B5-8533-4577-ACD0-930FC57440F8}" dt="2025-04-21T23:31:43.798" v="435" actId="207"/>
          <ac:spMkLst>
            <pc:docMk/>
            <pc:sldMk cId="1339647628" sldId="586"/>
            <ac:spMk id="647" creationId="{3B4CE62A-3C04-ED8E-4117-D5A9B747AD39}"/>
          </ac:spMkLst>
        </pc:spChg>
        <pc:spChg chg="mod">
          <ac:chgData name="bullingerm.tmt22" userId="9ce3b8b2-035f-4175-b301-998b03a50e38" providerId="ADAL" clId="{141171B5-8533-4577-ACD0-930FC57440F8}" dt="2025-04-22T13:55:25.855" v="1236" actId="20577"/>
          <ac:spMkLst>
            <pc:docMk/>
            <pc:sldMk cId="1339647628" sldId="586"/>
            <ac:spMk id="648" creationId="{BBAC7757-1FFD-E2DC-ED30-10851862F5A7}"/>
          </ac:spMkLst>
        </pc:spChg>
        <pc:spChg chg="mod">
          <ac:chgData name="bullingerm.tmt22" userId="9ce3b8b2-035f-4175-b301-998b03a50e38" providerId="ADAL" clId="{141171B5-8533-4577-ACD0-930FC57440F8}" dt="2025-04-21T23:31:43.798" v="435" actId="207"/>
          <ac:spMkLst>
            <pc:docMk/>
            <pc:sldMk cId="1339647628" sldId="586"/>
            <ac:spMk id="650" creationId="{BC0FDE1A-0603-6F29-2DB9-AAFD733D5500}"/>
          </ac:spMkLst>
        </pc:spChg>
        <pc:spChg chg="mod">
          <ac:chgData name="bullingerm.tmt22" userId="9ce3b8b2-035f-4175-b301-998b03a50e38" providerId="ADAL" clId="{141171B5-8533-4577-ACD0-930FC57440F8}" dt="2025-04-21T23:31:43.798" v="435" actId="207"/>
          <ac:spMkLst>
            <pc:docMk/>
            <pc:sldMk cId="1339647628" sldId="586"/>
            <ac:spMk id="653" creationId="{0C46B89C-E1E8-E0D6-3120-6A724D93DD89}"/>
          </ac:spMkLst>
        </pc:spChg>
        <pc:spChg chg="mod ord">
          <ac:chgData name="bullingerm.tmt22" userId="9ce3b8b2-035f-4175-b301-998b03a50e38" providerId="ADAL" clId="{141171B5-8533-4577-ACD0-930FC57440F8}" dt="2025-04-21T23:30:02.840" v="316"/>
          <ac:spMkLst>
            <pc:docMk/>
            <pc:sldMk cId="1339647628" sldId="586"/>
            <ac:spMk id="684" creationId="{98AB8393-D7AE-903E-219A-985654B3575F}"/>
          </ac:spMkLst>
        </pc:spChg>
        <pc:cxnChg chg="ord">
          <ac:chgData name="bullingerm.tmt22" userId="9ce3b8b2-035f-4175-b301-998b03a50e38" providerId="ADAL" clId="{141171B5-8533-4577-ACD0-930FC57440F8}" dt="2025-04-21T23:30:02.841" v="317"/>
          <ac:cxnSpMkLst>
            <pc:docMk/>
            <pc:sldMk cId="1339647628" sldId="586"/>
            <ac:cxnSpMk id="640" creationId="{39D0612F-93D0-15C9-F270-DC7CAA9FBE81}"/>
          </ac:cxnSpMkLst>
        </pc:cxnChg>
        <pc:cxnChg chg="ord">
          <ac:chgData name="bullingerm.tmt22" userId="9ce3b8b2-035f-4175-b301-998b03a50e38" providerId="ADAL" clId="{141171B5-8533-4577-ACD0-930FC57440F8}" dt="2025-04-21T23:30:02.842" v="318"/>
          <ac:cxnSpMkLst>
            <pc:docMk/>
            <pc:sldMk cId="1339647628" sldId="586"/>
            <ac:cxnSpMk id="643" creationId="{E5283BF0-9A34-B20F-9D9C-3A4EF1623D36}"/>
          </ac:cxnSpMkLst>
        </pc:cxnChg>
        <pc:cxnChg chg="ord">
          <ac:chgData name="bullingerm.tmt22" userId="9ce3b8b2-035f-4175-b301-998b03a50e38" providerId="ADAL" clId="{141171B5-8533-4577-ACD0-930FC57440F8}" dt="2025-04-21T23:30:02.843" v="319"/>
          <ac:cxnSpMkLst>
            <pc:docMk/>
            <pc:sldMk cId="1339647628" sldId="586"/>
            <ac:cxnSpMk id="646" creationId="{A88690F8-2067-283A-DB28-C0AD0F1AB0E8}"/>
          </ac:cxnSpMkLst>
        </pc:cxnChg>
        <pc:cxnChg chg="ord">
          <ac:chgData name="bullingerm.tmt22" userId="9ce3b8b2-035f-4175-b301-998b03a50e38" providerId="ADAL" clId="{141171B5-8533-4577-ACD0-930FC57440F8}" dt="2025-04-21T23:30:02.843" v="320"/>
          <ac:cxnSpMkLst>
            <pc:docMk/>
            <pc:sldMk cId="1339647628" sldId="586"/>
            <ac:cxnSpMk id="649" creationId="{B0BCC586-3E67-5595-4A56-AD1E75CCEAF2}"/>
          </ac:cxnSpMkLst>
        </pc:cxnChg>
        <pc:cxnChg chg="ord">
          <ac:chgData name="bullingerm.tmt22" userId="9ce3b8b2-035f-4175-b301-998b03a50e38" providerId="ADAL" clId="{141171B5-8533-4577-ACD0-930FC57440F8}" dt="2025-04-21T23:30:02.844" v="321"/>
          <ac:cxnSpMkLst>
            <pc:docMk/>
            <pc:sldMk cId="1339647628" sldId="586"/>
            <ac:cxnSpMk id="652" creationId="{4662FB33-2514-C621-1C8E-8EDC4F995485}"/>
          </ac:cxnSpMkLst>
        </pc:cxnChg>
        <pc:cxnChg chg="ord">
          <ac:chgData name="bullingerm.tmt22" userId="9ce3b8b2-035f-4175-b301-998b03a50e38" providerId="ADAL" clId="{141171B5-8533-4577-ACD0-930FC57440F8}" dt="2025-04-21T23:30:02.845" v="322"/>
          <ac:cxnSpMkLst>
            <pc:docMk/>
            <pc:sldMk cId="1339647628" sldId="586"/>
            <ac:cxnSpMk id="655" creationId="{70FC0239-FE5B-94C2-DB13-A654285812F7}"/>
          </ac:cxnSpMkLst>
        </pc:cxnChg>
        <pc:cxnChg chg="ord">
          <ac:chgData name="bullingerm.tmt22" userId="9ce3b8b2-035f-4175-b301-998b03a50e38" providerId="ADAL" clId="{141171B5-8533-4577-ACD0-930FC57440F8}" dt="2025-04-21T23:30:02.845" v="323"/>
          <ac:cxnSpMkLst>
            <pc:docMk/>
            <pc:sldMk cId="1339647628" sldId="586"/>
            <ac:cxnSpMk id="656" creationId="{8AEF7234-8B73-95BC-3551-9DF1CCE70E9D}"/>
          </ac:cxnSpMkLst>
        </pc:cxnChg>
      </pc:sldChg>
      <pc:sldChg chg="addSp delSp modSp del mod">
        <pc:chgData name="bullingerm.tmt22" userId="9ce3b8b2-035f-4175-b301-998b03a50e38" providerId="ADAL" clId="{141171B5-8533-4577-ACD0-930FC57440F8}" dt="2025-04-21T23:30:41.612" v="425" actId="47"/>
        <pc:sldMkLst>
          <pc:docMk/>
          <pc:sldMk cId="3574513803" sldId="591"/>
        </pc:sldMkLst>
      </pc:sldChg>
      <pc:sldChg chg="del ord">
        <pc:chgData name="bullingerm.tmt22" userId="9ce3b8b2-035f-4175-b301-998b03a50e38" providerId="ADAL" clId="{141171B5-8533-4577-ACD0-930FC57440F8}" dt="2025-04-21T23:38:52.027" v="489" actId="47"/>
        <pc:sldMkLst>
          <pc:docMk/>
          <pc:sldMk cId="3119090323" sldId="622"/>
        </pc:sldMkLst>
      </pc:sldChg>
      <pc:sldChg chg="addSp delSp modSp mod ord">
        <pc:chgData name="bullingerm.tmt22" userId="9ce3b8b2-035f-4175-b301-998b03a50e38" providerId="ADAL" clId="{141171B5-8533-4577-ACD0-930FC57440F8}" dt="2025-04-21T23:44:29.836" v="676" actId="1076"/>
        <pc:sldMkLst>
          <pc:docMk/>
          <pc:sldMk cId="3098618868" sldId="623"/>
        </pc:sldMkLst>
        <pc:spChg chg="mod">
          <ac:chgData name="bullingerm.tmt22" userId="9ce3b8b2-035f-4175-b301-998b03a50e38" providerId="ADAL" clId="{141171B5-8533-4577-ACD0-930FC57440F8}" dt="2025-04-21T23:39:39.649" v="569" actId="20577"/>
          <ac:spMkLst>
            <pc:docMk/>
            <pc:sldMk cId="3098618868" sldId="623"/>
            <ac:spMk id="42" creationId="{4358A22D-582F-467A-AD1C-A4E2A578FD4C}"/>
          </ac:spMkLst>
        </pc:spChg>
        <pc:spChg chg="mod">
          <ac:chgData name="bullingerm.tmt22" userId="9ce3b8b2-035f-4175-b301-998b03a50e38" providerId="ADAL" clId="{141171B5-8533-4577-ACD0-930FC57440F8}" dt="2025-04-21T23:44:20.455" v="673" actId="20577"/>
          <ac:spMkLst>
            <pc:docMk/>
            <pc:sldMk cId="3098618868" sldId="623"/>
            <ac:spMk id="43" creationId="{E009228E-F4A7-4DAA-A2CE-4E0625D16262}"/>
          </ac:spMkLst>
        </pc:spChg>
        <pc:picChg chg="add mod modCrop">
          <ac:chgData name="bullingerm.tmt22" userId="9ce3b8b2-035f-4175-b301-998b03a50e38" providerId="ADAL" clId="{141171B5-8533-4577-ACD0-930FC57440F8}" dt="2025-04-21T23:44:29.836" v="676" actId="1076"/>
          <ac:picMkLst>
            <pc:docMk/>
            <pc:sldMk cId="3098618868" sldId="623"/>
            <ac:picMk id="9" creationId="{F71ABC4A-9F68-078B-FB2D-615723FF83AE}"/>
          </ac:picMkLst>
        </pc:picChg>
      </pc:sldChg>
      <pc:sldChg chg="modSp mod">
        <pc:chgData name="bullingerm.tmt22" userId="9ce3b8b2-035f-4175-b301-998b03a50e38" providerId="ADAL" clId="{141171B5-8533-4577-ACD0-930FC57440F8}" dt="2025-04-22T13:50:34.432" v="1224" actId="1035"/>
        <pc:sldMkLst>
          <pc:docMk/>
          <pc:sldMk cId="3534934231" sldId="625"/>
        </pc:sldMkLst>
        <pc:spChg chg="mod">
          <ac:chgData name="bullingerm.tmt22" userId="9ce3b8b2-035f-4175-b301-998b03a50e38" providerId="ADAL" clId="{141171B5-8533-4577-ACD0-930FC57440F8}" dt="2025-04-22T13:50:31.013" v="1215" actId="1076"/>
          <ac:spMkLst>
            <pc:docMk/>
            <pc:sldMk cId="3534934231" sldId="625"/>
            <ac:spMk id="4" creationId="{3F7CB6E7-67CD-12EE-A1FF-528734C25D11}"/>
          </ac:spMkLst>
        </pc:spChg>
        <pc:graphicFrameChg chg="mod">
          <ac:chgData name="bullingerm.tmt22" userId="9ce3b8b2-035f-4175-b301-998b03a50e38" providerId="ADAL" clId="{141171B5-8533-4577-ACD0-930FC57440F8}" dt="2025-04-22T13:50:34.432" v="1224" actId="1035"/>
          <ac:graphicFrameMkLst>
            <pc:docMk/>
            <pc:sldMk cId="3534934231" sldId="625"/>
            <ac:graphicFrameMk id="5" creationId="{4CA5DE10-9474-8AFA-70A9-7B46BD12F0D5}"/>
          </ac:graphicFrameMkLst>
        </pc:graphicFrameChg>
      </pc:sldChg>
      <pc:sldChg chg="delSp modSp del mod">
        <pc:chgData name="bullingerm.tmt22" userId="9ce3b8b2-035f-4175-b301-998b03a50e38" providerId="ADAL" clId="{141171B5-8533-4577-ACD0-930FC57440F8}" dt="2025-04-21T23:30:03.282" v="420" actId="2696"/>
        <pc:sldMkLst>
          <pc:docMk/>
          <pc:sldMk cId="3847375222" sldId="639"/>
        </pc:sldMkLst>
      </pc:sldChg>
      <pc:sldChg chg="del">
        <pc:chgData name="bullingerm.tmt22" userId="9ce3b8b2-035f-4175-b301-998b03a50e38" providerId="ADAL" clId="{141171B5-8533-4577-ACD0-930FC57440F8}" dt="2025-04-21T23:30:03.279" v="417" actId="2696"/>
        <pc:sldMkLst>
          <pc:docMk/>
          <pc:sldMk cId="2418531785" sldId="640"/>
        </pc:sldMkLst>
      </pc:sldChg>
      <pc:sldChg chg="del">
        <pc:chgData name="bullingerm.tmt22" userId="9ce3b8b2-035f-4175-b301-998b03a50e38" providerId="ADAL" clId="{141171B5-8533-4577-ACD0-930FC57440F8}" dt="2025-04-21T23:30:03.276" v="416" actId="2696"/>
        <pc:sldMkLst>
          <pc:docMk/>
          <pc:sldMk cId="997004993" sldId="641"/>
        </pc:sldMkLst>
      </pc:sldChg>
      <pc:sldChg chg="delSp modSp mod ord">
        <pc:chgData name="bullingerm.tmt22" userId="9ce3b8b2-035f-4175-b301-998b03a50e38" providerId="ADAL" clId="{141171B5-8533-4577-ACD0-930FC57440F8}" dt="2025-04-21T23:40:21.728" v="590"/>
        <pc:sldMkLst>
          <pc:docMk/>
          <pc:sldMk cId="3265104741" sldId="642"/>
        </pc:sldMkLst>
        <pc:spChg chg="mod ord">
          <ac:chgData name="bullingerm.tmt22" userId="9ce3b8b2-035f-4175-b301-998b03a50e38" providerId="ADAL" clId="{141171B5-8533-4577-ACD0-930FC57440F8}" dt="2025-04-21T23:30:02.896" v="325"/>
          <ac:spMkLst>
            <pc:docMk/>
            <pc:sldMk cId="3265104741" sldId="642"/>
            <ac:spMk id="17" creationId="{5529DD3E-2121-410C-C623-CDF93DADE978}"/>
          </ac:spMkLst>
        </pc:spChg>
        <pc:spChg chg="mod">
          <ac:chgData name="bullingerm.tmt22" userId="9ce3b8b2-035f-4175-b301-998b03a50e38" providerId="ADAL" clId="{141171B5-8533-4577-ACD0-930FC57440F8}" dt="2025-04-21T23:31:50.295" v="437" actId="20577"/>
          <ac:spMkLst>
            <pc:docMk/>
            <pc:sldMk cId="3265104741" sldId="642"/>
            <ac:spMk id="42" creationId="{B806E101-58AE-D1B3-330D-DC97B2A1ACA6}"/>
          </ac:spMkLst>
        </pc:spChg>
        <pc:spChg chg="mod ord">
          <ac:chgData name="bullingerm.tmt22" userId="9ce3b8b2-035f-4175-b301-998b03a50e38" providerId="ADAL" clId="{141171B5-8533-4577-ACD0-930FC57440F8}" dt="2025-04-21T23:32:33.834" v="453" actId="207"/>
          <ac:spMkLst>
            <pc:docMk/>
            <pc:sldMk cId="3265104741" sldId="642"/>
            <ac:spMk id="44" creationId="{DDBDBF93-6263-A516-0C8F-BFD4934592DB}"/>
          </ac:spMkLst>
        </pc:spChg>
        <pc:spChg chg="mod">
          <ac:chgData name="bullingerm.tmt22" userId="9ce3b8b2-035f-4175-b301-998b03a50e38" providerId="ADAL" clId="{141171B5-8533-4577-ACD0-930FC57440F8}" dt="2025-04-21T23:31:59.174" v="443" actId="207"/>
          <ac:spMkLst>
            <pc:docMk/>
            <pc:sldMk cId="3265104741" sldId="642"/>
            <ac:spMk id="45" creationId="{5064B4C3-98D2-23DF-1DB5-14162468BFAA}"/>
          </ac:spMkLst>
        </pc:spChg>
        <pc:spChg chg="mod">
          <ac:chgData name="bullingerm.tmt22" userId="9ce3b8b2-035f-4175-b301-998b03a50e38" providerId="ADAL" clId="{141171B5-8533-4577-ACD0-930FC57440F8}" dt="2025-04-21T23:31:59.174" v="443" actId="207"/>
          <ac:spMkLst>
            <pc:docMk/>
            <pc:sldMk cId="3265104741" sldId="642"/>
            <ac:spMk id="48" creationId="{8AA2B975-33AC-D65A-DDFF-C7BF4DAE8C81}"/>
          </ac:spMkLst>
        </pc:spChg>
        <pc:spChg chg="mod">
          <ac:chgData name="bullingerm.tmt22" userId="9ce3b8b2-035f-4175-b301-998b03a50e38" providerId="ADAL" clId="{141171B5-8533-4577-ACD0-930FC57440F8}" dt="2025-04-21T23:31:59.174" v="443" actId="207"/>
          <ac:spMkLst>
            <pc:docMk/>
            <pc:sldMk cId="3265104741" sldId="642"/>
            <ac:spMk id="51" creationId="{5C999293-D4AB-A960-7E87-F40ADDB6155A}"/>
          </ac:spMkLst>
        </pc:spChg>
        <pc:spChg chg="mod">
          <ac:chgData name="bullingerm.tmt22" userId="9ce3b8b2-035f-4175-b301-998b03a50e38" providerId="ADAL" clId="{141171B5-8533-4577-ACD0-930FC57440F8}" dt="2025-04-21T23:40:21.728" v="590"/>
          <ac:spMkLst>
            <pc:docMk/>
            <pc:sldMk cId="3265104741" sldId="642"/>
            <ac:spMk id="52" creationId="{484AC8FC-FC6B-30CB-47D8-698117DCB47A}"/>
          </ac:spMkLst>
        </pc:spChg>
        <pc:spChg chg="mod">
          <ac:chgData name="bullingerm.tmt22" userId="9ce3b8b2-035f-4175-b301-998b03a50e38" providerId="ADAL" clId="{141171B5-8533-4577-ACD0-930FC57440F8}" dt="2025-04-21T23:31:59.174" v="443" actId="207"/>
          <ac:spMkLst>
            <pc:docMk/>
            <pc:sldMk cId="3265104741" sldId="642"/>
            <ac:spMk id="54" creationId="{C6B5C4BD-8937-D1F3-FDE2-BC608893E07B}"/>
          </ac:spMkLst>
        </pc:spChg>
        <pc:spChg chg="mod">
          <ac:chgData name="bullingerm.tmt22" userId="9ce3b8b2-035f-4175-b301-998b03a50e38" providerId="ADAL" clId="{141171B5-8533-4577-ACD0-930FC57440F8}" dt="2025-04-21T23:31:59.174" v="443" actId="207"/>
          <ac:spMkLst>
            <pc:docMk/>
            <pc:sldMk cId="3265104741" sldId="642"/>
            <ac:spMk id="57" creationId="{87AF96A5-8F33-82B3-C9F9-C3899C4155FA}"/>
          </ac:spMkLst>
        </pc:spChg>
        <pc:cxnChg chg="ord">
          <ac:chgData name="bullingerm.tmt22" userId="9ce3b8b2-035f-4175-b301-998b03a50e38" providerId="ADAL" clId="{141171B5-8533-4577-ACD0-930FC57440F8}" dt="2025-04-21T23:30:02.898" v="327"/>
          <ac:cxnSpMkLst>
            <pc:docMk/>
            <pc:sldMk cId="3265104741" sldId="642"/>
            <ac:cxnSpMk id="47" creationId="{04B15A24-A040-3AB2-84D6-B6C95E5E8CE3}"/>
          </ac:cxnSpMkLst>
        </pc:cxnChg>
        <pc:cxnChg chg="ord">
          <ac:chgData name="bullingerm.tmt22" userId="9ce3b8b2-035f-4175-b301-998b03a50e38" providerId="ADAL" clId="{141171B5-8533-4577-ACD0-930FC57440F8}" dt="2025-04-21T23:30:02.898" v="328"/>
          <ac:cxnSpMkLst>
            <pc:docMk/>
            <pc:sldMk cId="3265104741" sldId="642"/>
            <ac:cxnSpMk id="50" creationId="{84DDE3B4-1BAA-E1D2-4431-6A75F33509B7}"/>
          </ac:cxnSpMkLst>
        </pc:cxnChg>
        <pc:cxnChg chg="ord">
          <ac:chgData name="bullingerm.tmt22" userId="9ce3b8b2-035f-4175-b301-998b03a50e38" providerId="ADAL" clId="{141171B5-8533-4577-ACD0-930FC57440F8}" dt="2025-04-21T23:30:02.899" v="329"/>
          <ac:cxnSpMkLst>
            <pc:docMk/>
            <pc:sldMk cId="3265104741" sldId="642"/>
            <ac:cxnSpMk id="53" creationId="{9ECD1421-2F8D-0EA2-7DA6-1E04B53D863B}"/>
          </ac:cxnSpMkLst>
        </pc:cxnChg>
        <pc:cxnChg chg="ord">
          <ac:chgData name="bullingerm.tmt22" userId="9ce3b8b2-035f-4175-b301-998b03a50e38" providerId="ADAL" clId="{141171B5-8533-4577-ACD0-930FC57440F8}" dt="2025-04-21T23:30:02.900" v="330"/>
          <ac:cxnSpMkLst>
            <pc:docMk/>
            <pc:sldMk cId="3265104741" sldId="642"/>
            <ac:cxnSpMk id="56" creationId="{75E8443F-8326-B40A-0361-345371748CC9}"/>
          </ac:cxnSpMkLst>
        </pc:cxnChg>
        <pc:cxnChg chg="ord">
          <ac:chgData name="bullingerm.tmt22" userId="9ce3b8b2-035f-4175-b301-998b03a50e38" providerId="ADAL" clId="{141171B5-8533-4577-ACD0-930FC57440F8}" dt="2025-04-21T23:30:02.901" v="331"/>
          <ac:cxnSpMkLst>
            <pc:docMk/>
            <pc:sldMk cId="3265104741" sldId="642"/>
            <ac:cxnSpMk id="59" creationId="{D64D388C-5E1D-8715-4ABE-286702392482}"/>
          </ac:cxnSpMkLst>
        </pc:cxnChg>
        <pc:cxnChg chg="ord">
          <ac:chgData name="bullingerm.tmt22" userId="9ce3b8b2-035f-4175-b301-998b03a50e38" providerId="ADAL" clId="{141171B5-8533-4577-ACD0-930FC57440F8}" dt="2025-04-21T23:30:02.901" v="332"/>
          <ac:cxnSpMkLst>
            <pc:docMk/>
            <pc:sldMk cId="3265104741" sldId="642"/>
            <ac:cxnSpMk id="60" creationId="{DC4E11CE-7963-ACD3-5C65-0D3A1DA4978E}"/>
          </ac:cxnSpMkLst>
        </pc:cxnChg>
      </pc:sldChg>
      <pc:sldChg chg="delSp modSp mod ord">
        <pc:chgData name="bullingerm.tmt22" userId="9ce3b8b2-035f-4175-b301-998b03a50e38" providerId="ADAL" clId="{141171B5-8533-4577-ACD0-930FC57440F8}" dt="2025-04-21T23:40:20.118" v="589"/>
        <pc:sldMkLst>
          <pc:docMk/>
          <pc:sldMk cId="241794236" sldId="643"/>
        </pc:sldMkLst>
        <pc:spChg chg="mod ord">
          <ac:chgData name="bullingerm.tmt22" userId="9ce3b8b2-035f-4175-b301-998b03a50e38" providerId="ADAL" clId="{141171B5-8533-4577-ACD0-930FC57440F8}" dt="2025-04-21T23:30:02.962" v="334"/>
          <ac:spMkLst>
            <pc:docMk/>
            <pc:sldMk cId="241794236" sldId="643"/>
            <ac:spMk id="17" creationId="{C7129C2C-F50D-CE0C-4865-1283B58B9050}"/>
          </ac:spMkLst>
        </pc:spChg>
        <pc:spChg chg="mod">
          <ac:chgData name="bullingerm.tmt22" userId="9ce3b8b2-035f-4175-b301-998b03a50e38" providerId="ADAL" clId="{141171B5-8533-4577-ACD0-930FC57440F8}" dt="2025-04-21T23:32:14.343" v="451" actId="207"/>
          <ac:spMkLst>
            <pc:docMk/>
            <pc:sldMk cId="241794236" sldId="643"/>
            <ac:spMk id="42" creationId="{99AAF828-C7F2-41B9-545F-D0516848A9E2}"/>
          </ac:spMkLst>
        </pc:spChg>
        <pc:spChg chg="mod">
          <ac:chgData name="bullingerm.tmt22" userId="9ce3b8b2-035f-4175-b301-998b03a50e38" providerId="ADAL" clId="{141171B5-8533-4577-ACD0-930FC57440F8}" dt="2025-04-21T23:32:07.372" v="446" actId="20577"/>
          <ac:spMkLst>
            <pc:docMk/>
            <pc:sldMk cId="241794236" sldId="643"/>
            <ac:spMk id="45" creationId="{B836EDAD-8BBE-35A6-4466-7B14B590D1F5}"/>
          </ac:spMkLst>
        </pc:spChg>
        <pc:spChg chg="mod ord">
          <ac:chgData name="bullingerm.tmt22" userId="9ce3b8b2-035f-4175-b301-998b03a50e38" providerId="ADAL" clId="{141171B5-8533-4577-ACD0-930FC57440F8}" dt="2025-04-21T23:32:45.855" v="454" actId="207"/>
          <ac:spMkLst>
            <pc:docMk/>
            <pc:sldMk cId="241794236" sldId="643"/>
            <ac:spMk id="47" creationId="{79D50967-C50C-5D31-519C-3CCBC8006374}"/>
          </ac:spMkLst>
        </pc:spChg>
        <pc:spChg chg="mod">
          <ac:chgData name="bullingerm.tmt22" userId="9ce3b8b2-035f-4175-b301-998b03a50e38" providerId="ADAL" clId="{141171B5-8533-4577-ACD0-930FC57440F8}" dt="2025-04-21T23:32:14.343" v="451" actId="207"/>
          <ac:spMkLst>
            <pc:docMk/>
            <pc:sldMk cId="241794236" sldId="643"/>
            <ac:spMk id="48" creationId="{F641A686-5B77-A7BC-5075-D6ADF2D70C7F}"/>
          </ac:spMkLst>
        </pc:spChg>
        <pc:spChg chg="mod">
          <ac:chgData name="bullingerm.tmt22" userId="9ce3b8b2-035f-4175-b301-998b03a50e38" providerId="ADAL" clId="{141171B5-8533-4577-ACD0-930FC57440F8}" dt="2025-04-21T23:32:14.343" v="451" actId="207"/>
          <ac:spMkLst>
            <pc:docMk/>
            <pc:sldMk cId="241794236" sldId="643"/>
            <ac:spMk id="51" creationId="{141C6770-5657-B59C-6E66-B99E79BD0020}"/>
          </ac:spMkLst>
        </pc:spChg>
        <pc:spChg chg="mod">
          <ac:chgData name="bullingerm.tmt22" userId="9ce3b8b2-035f-4175-b301-998b03a50e38" providerId="ADAL" clId="{141171B5-8533-4577-ACD0-930FC57440F8}" dt="2025-04-21T23:40:20.118" v="589"/>
          <ac:spMkLst>
            <pc:docMk/>
            <pc:sldMk cId="241794236" sldId="643"/>
            <ac:spMk id="52" creationId="{7C3F264C-3241-D8B4-D635-B6ECAA8D517F}"/>
          </ac:spMkLst>
        </pc:spChg>
        <pc:spChg chg="mod">
          <ac:chgData name="bullingerm.tmt22" userId="9ce3b8b2-035f-4175-b301-998b03a50e38" providerId="ADAL" clId="{141171B5-8533-4577-ACD0-930FC57440F8}" dt="2025-04-21T23:32:14.343" v="451" actId="207"/>
          <ac:spMkLst>
            <pc:docMk/>
            <pc:sldMk cId="241794236" sldId="643"/>
            <ac:spMk id="54" creationId="{46D9A992-8529-B8D2-271A-DA67D2BD5003}"/>
          </ac:spMkLst>
        </pc:spChg>
        <pc:spChg chg="mod">
          <ac:chgData name="bullingerm.tmt22" userId="9ce3b8b2-035f-4175-b301-998b03a50e38" providerId="ADAL" clId="{141171B5-8533-4577-ACD0-930FC57440F8}" dt="2025-04-21T23:32:14.343" v="451" actId="207"/>
          <ac:spMkLst>
            <pc:docMk/>
            <pc:sldMk cId="241794236" sldId="643"/>
            <ac:spMk id="57" creationId="{185818D3-1CAA-3B41-E2FB-39BEED06273A}"/>
          </ac:spMkLst>
        </pc:spChg>
        <pc:cxnChg chg="ord">
          <ac:chgData name="bullingerm.tmt22" userId="9ce3b8b2-035f-4175-b301-998b03a50e38" providerId="ADAL" clId="{141171B5-8533-4577-ACD0-930FC57440F8}" dt="2025-04-21T23:30:02.963" v="335"/>
          <ac:cxnSpMkLst>
            <pc:docMk/>
            <pc:sldMk cId="241794236" sldId="643"/>
            <ac:cxnSpMk id="44" creationId="{DB6EB9EC-6F11-36DB-71B5-26665B69F013}"/>
          </ac:cxnSpMkLst>
        </pc:cxnChg>
        <pc:cxnChg chg="ord">
          <ac:chgData name="bullingerm.tmt22" userId="9ce3b8b2-035f-4175-b301-998b03a50e38" providerId="ADAL" clId="{141171B5-8533-4577-ACD0-930FC57440F8}" dt="2025-04-21T23:30:02.965" v="337"/>
          <ac:cxnSpMkLst>
            <pc:docMk/>
            <pc:sldMk cId="241794236" sldId="643"/>
            <ac:cxnSpMk id="50" creationId="{50DF5DD9-4989-588F-039E-1211C4EB39EB}"/>
          </ac:cxnSpMkLst>
        </pc:cxnChg>
        <pc:cxnChg chg="ord">
          <ac:chgData name="bullingerm.tmt22" userId="9ce3b8b2-035f-4175-b301-998b03a50e38" providerId="ADAL" clId="{141171B5-8533-4577-ACD0-930FC57440F8}" dt="2025-04-21T23:30:02.966" v="338"/>
          <ac:cxnSpMkLst>
            <pc:docMk/>
            <pc:sldMk cId="241794236" sldId="643"/>
            <ac:cxnSpMk id="53" creationId="{9C135579-E8D4-29DB-6F26-FC9B6EA961BE}"/>
          </ac:cxnSpMkLst>
        </pc:cxnChg>
        <pc:cxnChg chg="ord">
          <ac:chgData name="bullingerm.tmt22" userId="9ce3b8b2-035f-4175-b301-998b03a50e38" providerId="ADAL" clId="{141171B5-8533-4577-ACD0-930FC57440F8}" dt="2025-04-21T23:30:02.966" v="339"/>
          <ac:cxnSpMkLst>
            <pc:docMk/>
            <pc:sldMk cId="241794236" sldId="643"/>
            <ac:cxnSpMk id="56" creationId="{F15CB640-3A1E-08DF-2FA7-1747F4D6B72F}"/>
          </ac:cxnSpMkLst>
        </pc:cxnChg>
        <pc:cxnChg chg="ord">
          <ac:chgData name="bullingerm.tmt22" userId="9ce3b8b2-035f-4175-b301-998b03a50e38" providerId="ADAL" clId="{141171B5-8533-4577-ACD0-930FC57440F8}" dt="2025-04-21T23:30:02.967" v="340"/>
          <ac:cxnSpMkLst>
            <pc:docMk/>
            <pc:sldMk cId="241794236" sldId="643"/>
            <ac:cxnSpMk id="59" creationId="{3B28F2DC-1903-9A2A-0CC9-60EEED4DE78B}"/>
          </ac:cxnSpMkLst>
        </pc:cxnChg>
        <pc:cxnChg chg="ord">
          <ac:chgData name="bullingerm.tmt22" userId="9ce3b8b2-035f-4175-b301-998b03a50e38" providerId="ADAL" clId="{141171B5-8533-4577-ACD0-930FC57440F8}" dt="2025-04-21T23:30:02.967" v="341"/>
          <ac:cxnSpMkLst>
            <pc:docMk/>
            <pc:sldMk cId="241794236" sldId="643"/>
            <ac:cxnSpMk id="60" creationId="{192D8D31-975A-E2EE-17AC-971F3F6551DD}"/>
          </ac:cxnSpMkLst>
        </pc:cxnChg>
      </pc:sldChg>
      <pc:sldChg chg="delSp modSp mod ord">
        <pc:chgData name="bullingerm.tmt22" userId="9ce3b8b2-035f-4175-b301-998b03a50e38" providerId="ADAL" clId="{141171B5-8533-4577-ACD0-930FC57440F8}" dt="2025-04-21T23:40:17.708" v="588"/>
        <pc:sldMkLst>
          <pc:docMk/>
          <pc:sldMk cId="3763831896" sldId="644"/>
        </pc:sldMkLst>
        <pc:spChg chg="mod ord">
          <ac:chgData name="bullingerm.tmt22" userId="9ce3b8b2-035f-4175-b301-998b03a50e38" providerId="ADAL" clId="{141171B5-8533-4577-ACD0-930FC57440F8}" dt="2025-04-21T23:30:03.018" v="343"/>
          <ac:spMkLst>
            <pc:docMk/>
            <pc:sldMk cId="3763831896" sldId="644"/>
            <ac:spMk id="17" creationId="{9905472E-00D3-BBE1-E70E-635FDFF450D0}"/>
          </ac:spMkLst>
        </pc:spChg>
        <pc:spChg chg="mod">
          <ac:chgData name="bullingerm.tmt22" userId="9ce3b8b2-035f-4175-b301-998b03a50e38" providerId="ADAL" clId="{141171B5-8533-4577-ACD0-930FC57440F8}" dt="2025-04-21T23:32:54.730" v="461" actId="207"/>
          <ac:spMkLst>
            <pc:docMk/>
            <pc:sldMk cId="3763831896" sldId="644"/>
            <ac:spMk id="42" creationId="{1FD540E9-1AF7-8A61-4179-2EF0D667F92A}"/>
          </ac:spMkLst>
        </pc:spChg>
        <pc:spChg chg="mod">
          <ac:chgData name="bullingerm.tmt22" userId="9ce3b8b2-035f-4175-b301-998b03a50e38" providerId="ADAL" clId="{141171B5-8533-4577-ACD0-930FC57440F8}" dt="2025-04-21T23:32:54.730" v="461" actId="207"/>
          <ac:spMkLst>
            <pc:docMk/>
            <pc:sldMk cId="3763831896" sldId="644"/>
            <ac:spMk id="45" creationId="{8F8A7DF6-F678-BFFE-2CE3-BA9CB743AA9E}"/>
          </ac:spMkLst>
        </pc:spChg>
        <pc:spChg chg="mod">
          <ac:chgData name="bullingerm.tmt22" userId="9ce3b8b2-035f-4175-b301-998b03a50e38" providerId="ADAL" clId="{141171B5-8533-4577-ACD0-930FC57440F8}" dt="2025-04-21T23:32:49.836" v="457" actId="20577"/>
          <ac:spMkLst>
            <pc:docMk/>
            <pc:sldMk cId="3763831896" sldId="644"/>
            <ac:spMk id="48" creationId="{56BD6335-BA4A-AA22-C629-A49DBE05D627}"/>
          </ac:spMkLst>
        </pc:spChg>
        <pc:spChg chg="mod ord">
          <ac:chgData name="bullingerm.tmt22" userId="9ce3b8b2-035f-4175-b301-998b03a50e38" providerId="ADAL" clId="{141171B5-8533-4577-ACD0-930FC57440F8}" dt="2025-04-21T23:33:02.064" v="462" actId="207"/>
          <ac:spMkLst>
            <pc:docMk/>
            <pc:sldMk cId="3763831896" sldId="644"/>
            <ac:spMk id="50" creationId="{76B97040-A197-6A75-9AAF-F5CE49F8FF71}"/>
          </ac:spMkLst>
        </pc:spChg>
        <pc:spChg chg="mod">
          <ac:chgData name="bullingerm.tmt22" userId="9ce3b8b2-035f-4175-b301-998b03a50e38" providerId="ADAL" clId="{141171B5-8533-4577-ACD0-930FC57440F8}" dt="2025-04-21T23:32:54.730" v="461" actId="207"/>
          <ac:spMkLst>
            <pc:docMk/>
            <pc:sldMk cId="3763831896" sldId="644"/>
            <ac:spMk id="51" creationId="{F92548FE-40F2-2888-6A3E-D049F3B85A50}"/>
          </ac:spMkLst>
        </pc:spChg>
        <pc:spChg chg="mod">
          <ac:chgData name="bullingerm.tmt22" userId="9ce3b8b2-035f-4175-b301-998b03a50e38" providerId="ADAL" clId="{141171B5-8533-4577-ACD0-930FC57440F8}" dt="2025-04-21T23:40:17.708" v="588"/>
          <ac:spMkLst>
            <pc:docMk/>
            <pc:sldMk cId="3763831896" sldId="644"/>
            <ac:spMk id="52" creationId="{A4B44106-A95A-B467-0C4C-FAED44CE56A8}"/>
          </ac:spMkLst>
        </pc:spChg>
        <pc:spChg chg="mod">
          <ac:chgData name="bullingerm.tmt22" userId="9ce3b8b2-035f-4175-b301-998b03a50e38" providerId="ADAL" clId="{141171B5-8533-4577-ACD0-930FC57440F8}" dt="2025-04-21T23:32:54.730" v="461" actId="207"/>
          <ac:spMkLst>
            <pc:docMk/>
            <pc:sldMk cId="3763831896" sldId="644"/>
            <ac:spMk id="54" creationId="{CB1ABD25-967C-DEB3-415B-E806D86559A3}"/>
          </ac:spMkLst>
        </pc:spChg>
        <pc:spChg chg="mod">
          <ac:chgData name="bullingerm.tmt22" userId="9ce3b8b2-035f-4175-b301-998b03a50e38" providerId="ADAL" clId="{141171B5-8533-4577-ACD0-930FC57440F8}" dt="2025-04-21T23:32:54.730" v="461" actId="207"/>
          <ac:spMkLst>
            <pc:docMk/>
            <pc:sldMk cId="3763831896" sldId="644"/>
            <ac:spMk id="57" creationId="{986B1614-25C3-BC79-9D07-7F9B92008188}"/>
          </ac:spMkLst>
        </pc:spChg>
        <pc:cxnChg chg="ord">
          <ac:chgData name="bullingerm.tmt22" userId="9ce3b8b2-035f-4175-b301-998b03a50e38" providerId="ADAL" clId="{141171B5-8533-4577-ACD0-930FC57440F8}" dt="2025-04-21T23:30:03.019" v="344"/>
          <ac:cxnSpMkLst>
            <pc:docMk/>
            <pc:sldMk cId="3763831896" sldId="644"/>
            <ac:cxnSpMk id="44" creationId="{6AD59AAD-4D90-2183-5FBF-FC1980623940}"/>
          </ac:cxnSpMkLst>
        </pc:cxnChg>
        <pc:cxnChg chg="ord">
          <ac:chgData name="bullingerm.tmt22" userId="9ce3b8b2-035f-4175-b301-998b03a50e38" providerId="ADAL" clId="{141171B5-8533-4577-ACD0-930FC57440F8}" dt="2025-04-21T23:30:03.020" v="345"/>
          <ac:cxnSpMkLst>
            <pc:docMk/>
            <pc:sldMk cId="3763831896" sldId="644"/>
            <ac:cxnSpMk id="47" creationId="{F5084E76-57EE-D45B-37FF-17AD290A6067}"/>
          </ac:cxnSpMkLst>
        </pc:cxnChg>
        <pc:cxnChg chg="ord">
          <ac:chgData name="bullingerm.tmt22" userId="9ce3b8b2-035f-4175-b301-998b03a50e38" providerId="ADAL" clId="{141171B5-8533-4577-ACD0-930FC57440F8}" dt="2025-04-21T23:30:03.021" v="347"/>
          <ac:cxnSpMkLst>
            <pc:docMk/>
            <pc:sldMk cId="3763831896" sldId="644"/>
            <ac:cxnSpMk id="53" creationId="{5171FDAC-1A4F-AB85-1E60-E04D46C37A11}"/>
          </ac:cxnSpMkLst>
        </pc:cxnChg>
        <pc:cxnChg chg="ord">
          <ac:chgData name="bullingerm.tmt22" userId="9ce3b8b2-035f-4175-b301-998b03a50e38" providerId="ADAL" clId="{141171B5-8533-4577-ACD0-930FC57440F8}" dt="2025-04-21T23:30:03.022" v="348"/>
          <ac:cxnSpMkLst>
            <pc:docMk/>
            <pc:sldMk cId="3763831896" sldId="644"/>
            <ac:cxnSpMk id="56" creationId="{D12F166F-1243-4607-B98D-F47E915CB95A}"/>
          </ac:cxnSpMkLst>
        </pc:cxnChg>
        <pc:cxnChg chg="ord">
          <ac:chgData name="bullingerm.tmt22" userId="9ce3b8b2-035f-4175-b301-998b03a50e38" providerId="ADAL" clId="{141171B5-8533-4577-ACD0-930FC57440F8}" dt="2025-04-21T23:30:03.023" v="349"/>
          <ac:cxnSpMkLst>
            <pc:docMk/>
            <pc:sldMk cId="3763831896" sldId="644"/>
            <ac:cxnSpMk id="59" creationId="{CF96E272-04E0-DDFD-95F3-D130E43E39E5}"/>
          </ac:cxnSpMkLst>
        </pc:cxnChg>
        <pc:cxnChg chg="ord">
          <ac:chgData name="bullingerm.tmt22" userId="9ce3b8b2-035f-4175-b301-998b03a50e38" providerId="ADAL" clId="{141171B5-8533-4577-ACD0-930FC57440F8}" dt="2025-04-21T23:30:03.023" v="350"/>
          <ac:cxnSpMkLst>
            <pc:docMk/>
            <pc:sldMk cId="3763831896" sldId="644"/>
            <ac:cxnSpMk id="60" creationId="{97EDA8FB-F54C-BE3F-48FE-25BED8991C83}"/>
          </ac:cxnSpMkLst>
        </pc:cxnChg>
      </pc:sldChg>
      <pc:sldChg chg="addSp delSp modSp mod ord">
        <pc:chgData name="bullingerm.tmt22" userId="9ce3b8b2-035f-4175-b301-998b03a50e38" providerId="ADAL" clId="{141171B5-8533-4577-ACD0-930FC57440F8}" dt="2025-04-21T23:40:15.521" v="587" actId="20577"/>
        <pc:sldMkLst>
          <pc:docMk/>
          <pc:sldMk cId="3419869914" sldId="645"/>
        </pc:sldMkLst>
        <pc:spChg chg="mod ord">
          <ac:chgData name="bullingerm.tmt22" userId="9ce3b8b2-035f-4175-b301-998b03a50e38" providerId="ADAL" clId="{141171B5-8533-4577-ACD0-930FC57440F8}" dt="2025-04-21T23:30:03.075" v="352"/>
          <ac:spMkLst>
            <pc:docMk/>
            <pc:sldMk cId="3419869914" sldId="645"/>
            <ac:spMk id="17" creationId="{2ED0EF44-5221-DAF4-80C4-D7EC43BB1CAA}"/>
          </ac:spMkLst>
        </pc:spChg>
        <pc:spChg chg="mod">
          <ac:chgData name="bullingerm.tmt22" userId="9ce3b8b2-035f-4175-b301-998b03a50e38" providerId="ADAL" clId="{141171B5-8533-4577-ACD0-930FC57440F8}" dt="2025-04-21T23:33:11.520" v="469" actId="207"/>
          <ac:spMkLst>
            <pc:docMk/>
            <pc:sldMk cId="3419869914" sldId="645"/>
            <ac:spMk id="42" creationId="{A2821A02-E72B-46A0-A6CA-57AAD748206F}"/>
          </ac:spMkLst>
        </pc:spChg>
        <pc:spChg chg="mod">
          <ac:chgData name="bullingerm.tmt22" userId="9ce3b8b2-035f-4175-b301-998b03a50e38" providerId="ADAL" clId="{141171B5-8533-4577-ACD0-930FC57440F8}" dt="2025-04-21T23:33:11.520" v="469" actId="207"/>
          <ac:spMkLst>
            <pc:docMk/>
            <pc:sldMk cId="3419869914" sldId="645"/>
            <ac:spMk id="45" creationId="{3BEC6AED-E851-758F-D1D3-2740AFDA4B09}"/>
          </ac:spMkLst>
        </pc:spChg>
        <pc:spChg chg="mod">
          <ac:chgData name="bullingerm.tmt22" userId="9ce3b8b2-035f-4175-b301-998b03a50e38" providerId="ADAL" clId="{141171B5-8533-4577-ACD0-930FC57440F8}" dt="2025-04-21T23:33:11.520" v="469" actId="207"/>
          <ac:spMkLst>
            <pc:docMk/>
            <pc:sldMk cId="3419869914" sldId="645"/>
            <ac:spMk id="48" creationId="{188021C5-445C-272C-521E-B9C7A8073A14}"/>
          </ac:spMkLst>
        </pc:spChg>
        <pc:spChg chg="mod">
          <ac:chgData name="bullingerm.tmt22" userId="9ce3b8b2-035f-4175-b301-998b03a50e38" providerId="ADAL" clId="{141171B5-8533-4577-ACD0-930FC57440F8}" dt="2025-04-21T23:33:05.974" v="466" actId="20577"/>
          <ac:spMkLst>
            <pc:docMk/>
            <pc:sldMk cId="3419869914" sldId="645"/>
            <ac:spMk id="51" creationId="{5AAC00C5-A058-DBAC-52AF-F47DED5EE9AE}"/>
          </ac:spMkLst>
        </pc:spChg>
        <pc:spChg chg="mod">
          <ac:chgData name="bullingerm.tmt22" userId="9ce3b8b2-035f-4175-b301-998b03a50e38" providerId="ADAL" clId="{141171B5-8533-4577-ACD0-930FC57440F8}" dt="2025-04-21T23:40:15.521" v="587" actId="20577"/>
          <ac:spMkLst>
            <pc:docMk/>
            <pc:sldMk cId="3419869914" sldId="645"/>
            <ac:spMk id="52" creationId="{AF312665-206E-6AB8-2D5C-757CAE10801A}"/>
          </ac:spMkLst>
        </pc:spChg>
        <pc:spChg chg="mod ord">
          <ac:chgData name="bullingerm.tmt22" userId="9ce3b8b2-035f-4175-b301-998b03a50e38" providerId="ADAL" clId="{141171B5-8533-4577-ACD0-930FC57440F8}" dt="2025-04-21T23:33:14.571" v="470" actId="207"/>
          <ac:spMkLst>
            <pc:docMk/>
            <pc:sldMk cId="3419869914" sldId="645"/>
            <ac:spMk id="53" creationId="{3B59F429-7704-DD05-1C1E-F4B1F09413D1}"/>
          </ac:spMkLst>
        </pc:spChg>
        <pc:spChg chg="mod">
          <ac:chgData name="bullingerm.tmt22" userId="9ce3b8b2-035f-4175-b301-998b03a50e38" providerId="ADAL" clId="{141171B5-8533-4577-ACD0-930FC57440F8}" dt="2025-04-21T23:33:11.520" v="469" actId="207"/>
          <ac:spMkLst>
            <pc:docMk/>
            <pc:sldMk cId="3419869914" sldId="645"/>
            <ac:spMk id="54" creationId="{BEB9EEBA-272E-08B8-25C4-AD8E7D09D22C}"/>
          </ac:spMkLst>
        </pc:spChg>
        <pc:spChg chg="mod">
          <ac:chgData name="bullingerm.tmt22" userId="9ce3b8b2-035f-4175-b301-998b03a50e38" providerId="ADAL" clId="{141171B5-8533-4577-ACD0-930FC57440F8}" dt="2025-04-21T23:33:11.520" v="469" actId="207"/>
          <ac:spMkLst>
            <pc:docMk/>
            <pc:sldMk cId="3419869914" sldId="645"/>
            <ac:spMk id="57" creationId="{5814672E-0BCC-60C8-AC07-41A0451270DD}"/>
          </ac:spMkLst>
        </pc:spChg>
        <pc:cxnChg chg="ord">
          <ac:chgData name="bullingerm.tmt22" userId="9ce3b8b2-035f-4175-b301-998b03a50e38" providerId="ADAL" clId="{141171B5-8533-4577-ACD0-930FC57440F8}" dt="2025-04-21T23:30:03.076" v="353"/>
          <ac:cxnSpMkLst>
            <pc:docMk/>
            <pc:sldMk cId="3419869914" sldId="645"/>
            <ac:cxnSpMk id="44" creationId="{0C37BBFA-5F94-8256-0957-F27EBC40BBDB}"/>
          </ac:cxnSpMkLst>
        </pc:cxnChg>
        <pc:cxnChg chg="ord">
          <ac:chgData name="bullingerm.tmt22" userId="9ce3b8b2-035f-4175-b301-998b03a50e38" providerId="ADAL" clId="{141171B5-8533-4577-ACD0-930FC57440F8}" dt="2025-04-21T23:30:03.077" v="354"/>
          <ac:cxnSpMkLst>
            <pc:docMk/>
            <pc:sldMk cId="3419869914" sldId="645"/>
            <ac:cxnSpMk id="47" creationId="{110B7447-0509-561F-4853-AF2FC5BC6911}"/>
          </ac:cxnSpMkLst>
        </pc:cxnChg>
        <pc:cxnChg chg="ord">
          <ac:chgData name="bullingerm.tmt22" userId="9ce3b8b2-035f-4175-b301-998b03a50e38" providerId="ADAL" clId="{141171B5-8533-4577-ACD0-930FC57440F8}" dt="2025-04-21T23:30:03.077" v="355"/>
          <ac:cxnSpMkLst>
            <pc:docMk/>
            <pc:sldMk cId="3419869914" sldId="645"/>
            <ac:cxnSpMk id="50" creationId="{53CDE9D1-8DFF-CB89-BF94-E391577D057C}"/>
          </ac:cxnSpMkLst>
        </pc:cxnChg>
        <pc:cxnChg chg="ord">
          <ac:chgData name="bullingerm.tmt22" userId="9ce3b8b2-035f-4175-b301-998b03a50e38" providerId="ADAL" clId="{141171B5-8533-4577-ACD0-930FC57440F8}" dt="2025-04-21T23:30:03.079" v="357"/>
          <ac:cxnSpMkLst>
            <pc:docMk/>
            <pc:sldMk cId="3419869914" sldId="645"/>
            <ac:cxnSpMk id="56" creationId="{EA4EDF8F-E604-0381-EDD9-00CC8956E6E4}"/>
          </ac:cxnSpMkLst>
        </pc:cxnChg>
        <pc:cxnChg chg="ord">
          <ac:chgData name="bullingerm.tmt22" userId="9ce3b8b2-035f-4175-b301-998b03a50e38" providerId="ADAL" clId="{141171B5-8533-4577-ACD0-930FC57440F8}" dt="2025-04-21T23:30:03.080" v="358"/>
          <ac:cxnSpMkLst>
            <pc:docMk/>
            <pc:sldMk cId="3419869914" sldId="645"/>
            <ac:cxnSpMk id="59" creationId="{71C8C37E-C5A8-E436-8702-F98F66AD8A5B}"/>
          </ac:cxnSpMkLst>
        </pc:cxnChg>
        <pc:cxnChg chg="ord">
          <ac:chgData name="bullingerm.tmt22" userId="9ce3b8b2-035f-4175-b301-998b03a50e38" providerId="ADAL" clId="{141171B5-8533-4577-ACD0-930FC57440F8}" dt="2025-04-21T23:30:03.080" v="359"/>
          <ac:cxnSpMkLst>
            <pc:docMk/>
            <pc:sldMk cId="3419869914" sldId="645"/>
            <ac:cxnSpMk id="60" creationId="{53D5BC38-E23F-32F3-61D0-BF0873826BB4}"/>
          </ac:cxnSpMkLst>
        </pc:cxnChg>
      </pc:sldChg>
      <pc:sldChg chg="delSp modSp mod ord">
        <pc:chgData name="bullingerm.tmt22" userId="9ce3b8b2-035f-4175-b301-998b03a50e38" providerId="ADAL" clId="{141171B5-8533-4577-ACD0-930FC57440F8}" dt="2025-04-21T23:40:06.876" v="579"/>
        <pc:sldMkLst>
          <pc:docMk/>
          <pc:sldMk cId="3408027728" sldId="646"/>
        </pc:sldMkLst>
        <pc:spChg chg="mod ord">
          <ac:chgData name="bullingerm.tmt22" userId="9ce3b8b2-035f-4175-b301-998b03a50e38" providerId="ADAL" clId="{141171B5-8533-4577-ACD0-930FC57440F8}" dt="2025-04-21T23:30:03.131" v="361"/>
          <ac:spMkLst>
            <pc:docMk/>
            <pc:sldMk cId="3408027728" sldId="646"/>
            <ac:spMk id="17" creationId="{2EB97491-F7A5-B590-8D9F-439CF8A375C5}"/>
          </ac:spMkLst>
        </pc:spChg>
        <pc:spChg chg="mod">
          <ac:chgData name="bullingerm.tmt22" userId="9ce3b8b2-035f-4175-b301-998b03a50e38" providerId="ADAL" clId="{141171B5-8533-4577-ACD0-930FC57440F8}" dt="2025-04-21T23:33:23.108" v="477" actId="207"/>
          <ac:spMkLst>
            <pc:docMk/>
            <pc:sldMk cId="3408027728" sldId="646"/>
            <ac:spMk id="42" creationId="{0E546AA5-D194-875A-5088-3DB2B50C1BC6}"/>
          </ac:spMkLst>
        </pc:spChg>
        <pc:spChg chg="mod">
          <ac:chgData name="bullingerm.tmt22" userId="9ce3b8b2-035f-4175-b301-998b03a50e38" providerId="ADAL" clId="{141171B5-8533-4577-ACD0-930FC57440F8}" dt="2025-04-21T23:33:23.108" v="477" actId="207"/>
          <ac:spMkLst>
            <pc:docMk/>
            <pc:sldMk cId="3408027728" sldId="646"/>
            <ac:spMk id="45" creationId="{33AA44DD-D106-7AA2-B438-DDA70B3B2CE4}"/>
          </ac:spMkLst>
        </pc:spChg>
        <pc:spChg chg="mod">
          <ac:chgData name="bullingerm.tmt22" userId="9ce3b8b2-035f-4175-b301-998b03a50e38" providerId="ADAL" clId="{141171B5-8533-4577-ACD0-930FC57440F8}" dt="2025-04-21T23:33:23.108" v="477" actId="207"/>
          <ac:spMkLst>
            <pc:docMk/>
            <pc:sldMk cId="3408027728" sldId="646"/>
            <ac:spMk id="48" creationId="{308B7C71-7936-9507-070C-C2369BBD7D46}"/>
          </ac:spMkLst>
        </pc:spChg>
        <pc:spChg chg="mod">
          <ac:chgData name="bullingerm.tmt22" userId="9ce3b8b2-035f-4175-b301-998b03a50e38" providerId="ADAL" clId="{141171B5-8533-4577-ACD0-930FC57440F8}" dt="2025-04-21T23:33:23.108" v="477" actId="207"/>
          <ac:spMkLst>
            <pc:docMk/>
            <pc:sldMk cId="3408027728" sldId="646"/>
            <ac:spMk id="51" creationId="{C9C6DD19-C5D7-6F0F-3681-0477F3A1B8AF}"/>
          </ac:spMkLst>
        </pc:spChg>
        <pc:spChg chg="mod">
          <ac:chgData name="bullingerm.tmt22" userId="9ce3b8b2-035f-4175-b301-998b03a50e38" providerId="ADAL" clId="{141171B5-8533-4577-ACD0-930FC57440F8}" dt="2025-04-21T23:40:06.876" v="579"/>
          <ac:spMkLst>
            <pc:docMk/>
            <pc:sldMk cId="3408027728" sldId="646"/>
            <ac:spMk id="52" creationId="{6E510031-4D5F-6332-4044-0CA829655E21}"/>
          </ac:spMkLst>
        </pc:spChg>
        <pc:spChg chg="mod">
          <ac:chgData name="bullingerm.tmt22" userId="9ce3b8b2-035f-4175-b301-998b03a50e38" providerId="ADAL" clId="{141171B5-8533-4577-ACD0-930FC57440F8}" dt="2025-04-21T23:33:19.902" v="476" actId="20577"/>
          <ac:spMkLst>
            <pc:docMk/>
            <pc:sldMk cId="3408027728" sldId="646"/>
            <ac:spMk id="54" creationId="{15271803-5614-61DE-FC6D-3A263E93719D}"/>
          </ac:spMkLst>
        </pc:spChg>
        <pc:spChg chg="mod ord">
          <ac:chgData name="bullingerm.tmt22" userId="9ce3b8b2-035f-4175-b301-998b03a50e38" providerId="ADAL" clId="{141171B5-8533-4577-ACD0-930FC57440F8}" dt="2025-04-21T23:33:26.587" v="478" actId="207"/>
          <ac:spMkLst>
            <pc:docMk/>
            <pc:sldMk cId="3408027728" sldId="646"/>
            <ac:spMk id="56" creationId="{A3A4DD3F-6DBB-47B6-A28B-9A91289F656C}"/>
          </ac:spMkLst>
        </pc:spChg>
        <pc:spChg chg="mod">
          <ac:chgData name="bullingerm.tmt22" userId="9ce3b8b2-035f-4175-b301-998b03a50e38" providerId="ADAL" clId="{141171B5-8533-4577-ACD0-930FC57440F8}" dt="2025-04-21T23:33:23.108" v="477" actId="207"/>
          <ac:spMkLst>
            <pc:docMk/>
            <pc:sldMk cId="3408027728" sldId="646"/>
            <ac:spMk id="57" creationId="{419E2F2B-5B48-0B29-CC53-825B663D3963}"/>
          </ac:spMkLst>
        </pc:spChg>
        <pc:cxnChg chg="ord">
          <ac:chgData name="bullingerm.tmt22" userId="9ce3b8b2-035f-4175-b301-998b03a50e38" providerId="ADAL" clId="{141171B5-8533-4577-ACD0-930FC57440F8}" dt="2025-04-21T23:30:03.132" v="362"/>
          <ac:cxnSpMkLst>
            <pc:docMk/>
            <pc:sldMk cId="3408027728" sldId="646"/>
            <ac:cxnSpMk id="44" creationId="{E6404C82-E6A0-F6BE-5239-5A2FC1263363}"/>
          </ac:cxnSpMkLst>
        </pc:cxnChg>
        <pc:cxnChg chg="ord">
          <ac:chgData name="bullingerm.tmt22" userId="9ce3b8b2-035f-4175-b301-998b03a50e38" providerId="ADAL" clId="{141171B5-8533-4577-ACD0-930FC57440F8}" dt="2025-04-21T23:30:03.133" v="363"/>
          <ac:cxnSpMkLst>
            <pc:docMk/>
            <pc:sldMk cId="3408027728" sldId="646"/>
            <ac:cxnSpMk id="47" creationId="{1A5718E7-9A7C-6E8A-1F4C-FCF00B001121}"/>
          </ac:cxnSpMkLst>
        </pc:cxnChg>
        <pc:cxnChg chg="ord">
          <ac:chgData name="bullingerm.tmt22" userId="9ce3b8b2-035f-4175-b301-998b03a50e38" providerId="ADAL" clId="{141171B5-8533-4577-ACD0-930FC57440F8}" dt="2025-04-21T23:30:03.134" v="364"/>
          <ac:cxnSpMkLst>
            <pc:docMk/>
            <pc:sldMk cId="3408027728" sldId="646"/>
            <ac:cxnSpMk id="50" creationId="{D243013C-7729-F904-9E47-ABAAB2606EB5}"/>
          </ac:cxnSpMkLst>
        </pc:cxnChg>
        <pc:cxnChg chg="ord">
          <ac:chgData name="bullingerm.tmt22" userId="9ce3b8b2-035f-4175-b301-998b03a50e38" providerId="ADAL" clId="{141171B5-8533-4577-ACD0-930FC57440F8}" dt="2025-04-21T23:30:03.134" v="365"/>
          <ac:cxnSpMkLst>
            <pc:docMk/>
            <pc:sldMk cId="3408027728" sldId="646"/>
            <ac:cxnSpMk id="53" creationId="{9EFF3E64-8042-1521-4EAC-7EF076A75393}"/>
          </ac:cxnSpMkLst>
        </pc:cxnChg>
        <pc:cxnChg chg="ord">
          <ac:chgData name="bullingerm.tmt22" userId="9ce3b8b2-035f-4175-b301-998b03a50e38" providerId="ADAL" clId="{141171B5-8533-4577-ACD0-930FC57440F8}" dt="2025-04-21T23:30:03.136" v="367"/>
          <ac:cxnSpMkLst>
            <pc:docMk/>
            <pc:sldMk cId="3408027728" sldId="646"/>
            <ac:cxnSpMk id="59" creationId="{EBA6D9F3-F74C-5EF6-BA64-74AFBE5D7D7D}"/>
          </ac:cxnSpMkLst>
        </pc:cxnChg>
        <pc:cxnChg chg="ord">
          <ac:chgData name="bullingerm.tmt22" userId="9ce3b8b2-035f-4175-b301-998b03a50e38" providerId="ADAL" clId="{141171B5-8533-4577-ACD0-930FC57440F8}" dt="2025-04-21T23:30:03.136" v="368"/>
          <ac:cxnSpMkLst>
            <pc:docMk/>
            <pc:sldMk cId="3408027728" sldId="646"/>
            <ac:cxnSpMk id="60" creationId="{67E35DF7-E47A-821C-8877-2B18142A9E8C}"/>
          </ac:cxnSpMkLst>
        </pc:cxnChg>
      </pc:sldChg>
      <pc:sldChg chg="delSp modSp mod ord">
        <pc:chgData name="bullingerm.tmt22" userId="9ce3b8b2-035f-4175-b301-998b03a50e38" providerId="ADAL" clId="{141171B5-8533-4577-ACD0-930FC57440F8}" dt="2025-04-21T23:40:00.228" v="578"/>
        <pc:sldMkLst>
          <pc:docMk/>
          <pc:sldMk cId="3237586983" sldId="647"/>
        </pc:sldMkLst>
        <pc:spChg chg="mod ord">
          <ac:chgData name="bullingerm.tmt22" userId="9ce3b8b2-035f-4175-b301-998b03a50e38" providerId="ADAL" clId="{141171B5-8533-4577-ACD0-930FC57440F8}" dt="2025-04-21T23:30:03.222" v="370"/>
          <ac:spMkLst>
            <pc:docMk/>
            <pc:sldMk cId="3237586983" sldId="647"/>
            <ac:spMk id="17" creationId="{4C58AEA6-C0DD-442B-A086-699A47BC5E46}"/>
          </ac:spMkLst>
        </pc:spChg>
        <pc:spChg chg="mod">
          <ac:chgData name="bullingerm.tmt22" userId="9ce3b8b2-035f-4175-b301-998b03a50e38" providerId="ADAL" clId="{141171B5-8533-4577-ACD0-930FC57440F8}" dt="2025-04-21T23:33:36.762" v="485" actId="207"/>
          <ac:spMkLst>
            <pc:docMk/>
            <pc:sldMk cId="3237586983" sldId="647"/>
            <ac:spMk id="42" creationId="{4971CB19-E0FB-241B-4B13-A28749E709D9}"/>
          </ac:spMkLst>
        </pc:spChg>
        <pc:spChg chg="mod">
          <ac:chgData name="bullingerm.tmt22" userId="9ce3b8b2-035f-4175-b301-998b03a50e38" providerId="ADAL" clId="{141171B5-8533-4577-ACD0-930FC57440F8}" dt="2025-04-21T23:33:36.762" v="485" actId="207"/>
          <ac:spMkLst>
            <pc:docMk/>
            <pc:sldMk cId="3237586983" sldId="647"/>
            <ac:spMk id="45" creationId="{D39405A7-89C0-8338-31CD-28145E6C47D3}"/>
          </ac:spMkLst>
        </pc:spChg>
        <pc:spChg chg="mod">
          <ac:chgData name="bullingerm.tmt22" userId="9ce3b8b2-035f-4175-b301-998b03a50e38" providerId="ADAL" clId="{141171B5-8533-4577-ACD0-930FC57440F8}" dt="2025-04-21T23:33:36.762" v="485" actId="207"/>
          <ac:spMkLst>
            <pc:docMk/>
            <pc:sldMk cId="3237586983" sldId="647"/>
            <ac:spMk id="48" creationId="{FEC69081-1C34-1124-5FB7-0297D2F553A7}"/>
          </ac:spMkLst>
        </pc:spChg>
        <pc:spChg chg="mod">
          <ac:chgData name="bullingerm.tmt22" userId="9ce3b8b2-035f-4175-b301-998b03a50e38" providerId="ADAL" clId="{141171B5-8533-4577-ACD0-930FC57440F8}" dt="2025-04-21T23:33:36.762" v="485" actId="207"/>
          <ac:spMkLst>
            <pc:docMk/>
            <pc:sldMk cId="3237586983" sldId="647"/>
            <ac:spMk id="51" creationId="{F1C072CD-8308-EB6C-18FF-96FAD82DD891}"/>
          </ac:spMkLst>
        </pc:spChg>
        <pc:spChg chg="mod">
          <ac:chgData name="bullingerm.tmt22" userId="9ce3b8b2-035f-4175-b301-998b03a50e38" providerId="ADAL" clId="{141171B5-8533-4577-ACD0-930FC57440F8}" dt="2025-04-21T23:40:00.228" v="578"/>
          <ac:spMkLst>
            <pc:docMk/>
            <pc:sldMk cId="3237586983" sldId="647"/>
            <ac:spMk id="52" creationId="{736E6121-950D-DCD4-7364-471A54AB9976}"/>
          </ac:spMkLst>
        </pc:spChg>
        <pc:spChg chg="mod">
          <ac:chgData name="bullingerm.tmt22" userId="9ce3b8b2-035f-4175-b301-998b03a50e38" providerId="ADAL" clId="{141171B5-8533-4577-ACD0-930FC57440F8}" dt="2025-04-21T23:33:36.762" v="485" actId="207"/>
          <ac:spMkLst>
            <pc:docMk/>
            <pc:sldMk cId="3237586983" sldId="647"/>
            <ac:spMk id="54" creationId="{0A0FD92C-D001-0784-717F-C682AA6EE4C4}"/>
          </ac:spMkLst>
        </pc:spChg>
        <pc:spChg chg="mod">
          <ac:chgData name="bullingerm.tmt22" userId="9ce3b8b2-035f-4175-b301-998b03a50e38" providerId="ADAL" clId="{141171B5-8533-4577-ACD0-930FC57440F8}" dt="2025-04-21T23:33:28.815" v="479" actId="20577"/>
          <ac:spMkLst>
            <pc:docMk/>
            <pc:sldMk cId="3237586983" sldId="647"/>
            <ac:spMk id="57" creationId="{10C96F24-6FAD-8618-39FD-099570796557}"/>
          </ac:spMkLst>
        </pc:spChg>
        <pc:spChg chg="mod ord">
          <ac:chgData name="bullingerm.tmt22" userId="9ce3b8b2-035f-4175-b301-998b03a50e38" providerId="ADAL" clId="{141171B5-8533-4577-ACD0-930FC57440F8}" dt="2025-04-21T23:33:39.598" v="486" actId="207"/>
          <ac:spMkLst>
            <pc:docMk/>
            <pc:sldMk cId="3237586983" sldId="647"/>
            <ac:spMk id="59" creationId="{9ADF5E46-6CFA-3F59-F161-0BF3870BAF07}"/>
          </ac:spMkLst>
        </pc:spChg>
        <pc:cxnChg chg="ord">
          <ac:chgData name="bullingerm.tmt22" userId="9ce3b8b2-035f-4175-b301-998b03a50e38" providerId="ADAL" clId="{141171B5-8533-4577-ACD0-930FC57440F8}" dt="2025-04-21T23:30:03.223" v="371"/>
          <ac:cxnSpMkLst>
            <pc:docMk/>
            <pc:sldMk cId="3237586983" sldId="647"/>
            <ac:cxnSpMk id="44" creationId="{D4079B92-6341-CF6F-5EB4-982E269B7763}"/>
          </ac:cxnSpMkLst>
        </pc:cxnChg>
        <pc:cxnChg chg="ord">
          <ac:chgData name="bullingerm.tmt22" userId="9ce3b8b2-035f-4175-b301-998b03a50e38" providerId="ADAL" clId="{141171B5-8533-4577-ACD0-930FC57440F8}" dt="2025-04-21T23:30:03.224" v="372"/>
          <ac:cxnSpMkLst>
            <pc:docMk/>
            <pc:sldMk cId="3237586983" sldId="647"/>
            <ac:cxnSpMk id="47" creationId="{57B09C02-D7CA-5B09-0201-447BA3D9FA27}"/>
          </ac:cxnSpMkLst>
        </pc:cxnChg>
        <pc:cxnChg chg="ord">
          <ac:chgData name="bullingerm.tmt22" userId="9ce3b8b2-035f-4175-b301-998b03a50e38" providerId="ADAL" clId="{141171B5-8533-4577-ACD0-930FC57440F8}" dt="2025-04-21T23:30:03.224" v="373"/>
          <ac:cxnSpMkLst>
            <pc:docMk/>
            <pc:sldMk cId="3237586983" sldId="647"/>
            <ac:cxnSpMk id="50" creationId="{FA0069EC-DCD9-09E5-38CE-EF0CD815CDB0}"/>
          </ac:cxnSpMkLst>
        </pc:cxnChg>
        <pc:cxnChg chg="ord">
          <ac:chgData name="bullingerm.tmt22" userId="9ce3b8b2-035f-4175-b301-998b03a50e38" providerId="ADAL" clId="{141171B5-8533-4577-ACD0-930FC57440F8}" dt="2025-04-21T23:30:03.225" v="374"/>
          <ac:cxnSpMkLst>
            <pc:docMk/>
            <pc:sldMk cId="3237586983" sldId="647"/>
            <ac:cxnSpMk id="53" creationId="{BA00E6FB-9B05-8FDF-B588-040B250FE0E7}"/>
          </ac:cxnSpMkLst>
        </pc:cxnChg>
        <pc:cxnChg chg="ord">
          <ac:chgData name="bullingerm.tmt22" userId="9ce3b8b2-035f-4175-b301-998b03a50e38" providerId="ADAL" clId="{141171B5-8533-4577-ACD0-930FC57440F8}" dt="2025-04-21T23:30:03.226" v="375"/>
          <ac:cxnSpMkLst>
            <pc:docMk/>
            <pc:sldMk cId="3237586983" sldId="647"/>
            <ac:cxnSpMk id="56" creationId="{5CD03D89-E68E-E229-7154-BBA8C507EFBD}"/>
          </ac:cxnSpMkLst>
        </pc:cxnChg>
      </pc:sldChg>
      <pc:sldChg chg="modSp new del mod">
        <pc:chgData name="bullingerm.tmt22" userId="9ce3b8b2-035f-4175-b301-998b03a50e38" providerId="ADAL" clId="{141171B5-8533-4577-ACD0-930FC57440F8}" dt="2025-04-21T23:31:47.288" v="436" actId="47"/>
        <pc:sldMkLst>
          <pc:docMk/>
          <pc:sldMk cId="1590047663" sldId="648"/>
        </pc:sldMkLst>
      </pc:sldChg>
      <pc:sldChg chg="modSp add mod">
        <pc:chgData name="bullingerm.tmt22" userId="9ce3b8b2-035f-4175-b301-998b03a50e38" providerId="ADAL" clId="{141171B5-8533-4577-ACD0-930FC57440F8}" dt="2025-04-21T23:44:13.223" v="651" actId="20577"/>
        <pc:sldMkLst>
          <pc:docMk/>
          <pc:sldMk cId="2711219196" sldId="648"/>
        </pc:sldMkLst>
        <pc:spChg chg="mod">
          <ac:chgData name="bullingerm.tmt22" userId="9ce3b8b2-035f-4175-b301-998b03a50e38" providerId="ADAL" clId="{141171B5-8533-4577-ACD0-930FC57440F8}" dt="2025-04-21T23:44:13.223" v="651" actId="20577"/>
          <ac:spMkLst>
            <pc:docMk/>
            <pc:sldMk cId="2711219196" sldId="648"/>
            <ac:spMk id="43" creationId="{E301F8A3-DDA9-88F8-CA30-38F1DC7780E5}"/>
          </ac:spMkLst>
        </pc:spChg>
        <pc:picChg chg="mod modCrop">
          <ac:chgData name="bullingerm.tmt22" userId="9ce3b8b2-035f-4175-b301-998b03a50e38" providerId="ADAL" clId="{141171B5-8533-4577-ACD0-930FC57440F8}" dt="2025-04-21T23:44:05.699" v="624" actId="1076"/>
          <ac:picMkLst>
            <pc:docMk/>
            <pc:sldMk cId="2711219196" sldId="648"/>
            <ac:picMk id="9" creationId="{BB473323-03B1-AD2D-80D3-370ADC2DD557}"/>
          </ac:picMkLst>
        </pc:picChg>
      </pc:sldChg>
      <pc:sldChg chg="addSp delSp modSp mod delAnim modAnim">
        <pc:chgData name="bullingerm.tmt22" userId="9ce3b8b2-035f-4175-b301-998b03a50e38" providerId="ADAL" clId="{141171B5-8533-4577-ACD0-930FC57440F8}" dt="2025-04-22T14:23:00.488" v="1530" actId="478"/>
        <pc:sldMkLst>
          <pc:docMk/>
          <pc:sldMk cId="2840064016" sldId="651"/>
        </pc:sldMkLst>
        <pc:picChg chg="mod">
          <ac:chgData name="bullingerm.tmt22" userId="9ce3b8b2-035f-4175-b301-998b03a50e38" providerId="ADAL" clId="{141171B5-8533-4577-ACD0-930FC57440F8}" dt="2025-04-22T14:22:58.645" v="1529" actId="1076"/>
          <ac:picMkLst>
            <pc:docMk/>
            <pc:sldMk cId="2840064016" sldId="651"/>
            <ac:picMk id="9" creationId="{DEEAFA82-0EB9-47AD-9110-E9D74C870F1D}"/>
          </ac:picMkLst>
        </pc:picChg>
      </pc:sldChg>
      <pc:sldChg chg="modSp mod">
        <pc:chgData name="bullingerm.tmt22" userId="9ce3b8b2-035f-4175-b301-998b03a50e38" providerId="ADAL" clId="{141171B5-8533-4577-ACD0-930FC57440F8}" dt="2025-04-22T14:22:41.391" v="1527" actId="1035"/>
        <pc:sldMkLst>
          <pc:docMk/>
          <pc:sldMk cId="3388882345" sldId="652"/>
        </pc:sldMkLst>
        <pc:spChg chg="mod">
          <ac:chgData name="bullingerm.tmt22" userId="9ce3b8b2-035f-4175-b301-998b03a50e38" providerId="ADAL" clId="{141171B5-8533-4577-ACD0-930FC57440F8}" dt="2025-04-22T14:22:41.391" v="1527" actId="1035"/>
          <ac:spMkLst>
            <pc:docMk/>
            <pc:sldMk cId="3388882345" sldId="652"/>
            <ac:spMk id="4" creationId="{801F26D2-C9E0-6F6D-D67C-1792E4552236}"/>
          </ac:spMkLst>
        </pc:spChg>
      </pc:sldChg>
      <pc:sldChg chg="modSp mod">
        <pc:chgData name="bullingerm.tmt22" userId="9ce3b8b2-035f-4175-b301-998b03a50e38" providerId="ADAL" clId="{141171B5-8533-4577-ACD0-930FC57440F8}" dt="2025-04-22T14:22:34.446" v="1525" actId="14100"/>
        <pc:sldMkLst>
          <pc:docMk/>
          <pc:sldMk cId="46571281" sldId="654"/>
        </pc:sldMkLst>
        <pc:spChg chg="mod">
          <ac:chgData name="bullingerm.tmt22" userId="9ce3b8b2-035f-4175-b301-998b03a50e38" providerId="ADAL" clId="{141171B5-8533-4577-ACD0-930FC57440F8}" dt="2025-04-22T14:22:21.992" v="1522" actId="1035"/>
          <ac:spMkLst>
            <pc:docMk/>
            <pc:sldMk cId="46571281" sldId="654"/>
            <ac:spMk id="4" creationId="{F44EC2EE-EE31-4266-94C3-A54F52859725}"/>
          </ac:spMkLst>
        </pc:spChg>
        <pc:spChg chg="mod">
          <ac:chgData name="bullingerm.tmt22" userId="9ce3b8b2-035f-4175-b301-998b03a50e38" providerId="ADAL" clId="{141171B5-8533-4577-ACD0-930FC57440F8}" dt="2025-04-22T14:22:21.992" v="1522" actId="1035"/>
          <ac:spMkLst>
            <pc:docMk/>
            <pc:sldMk cId="46571281" sldId="654"/>
            <ac:spMk id="8" creationId="{C3A59FAD-EB22-4BF6-AA45-6269F7C0B199}"/>
          </ac:spMkLst>
        </pc:spChg>
        <pc:spChg chg="mod">
          <ac:chgData name="bullingerm.tmt22" userId="9ce3b8b2-035f-4175-b301-998b03a50e38" providerId="ADAL" clId="{141171B5-8533-4577-ACD0-930FC57440F8}" dt="2025-04-22T14:22:21.992" v="1522" actId="1035"/>
          <ac:spMkLst>
            <pc:docMk/>
            <pc:sldMk cId="46571281" sldId="654"/>
            <ac:spMk id="11" creationId="{293ED33E-C252-4949-8C59-2D36B7465CFC}"/>
          </ac:spMkLst>
        </pc:spChg>
        <pc:spChg chg="mod">
          <ac:chgData name="bullingerm.tmt22" userId="9ce3b8b2-035f-4175-b301-998b03a50e38" providerId="ADAL" clId="{141171B5-8533-4577-ACD0-930FC57440F8}" dt="2025-04-22T14:22:21.992" v="1522" actId="1035"/>
          <ac:spMkLst>
            <pc:docMk/>
            <pc:sldMk cId="46571281" sldId="654"/>
            <ac:spMk id="12" creationId="{5AE6DDE9-2836-45FA-A025-9C9D49F0362D}"/>
          </ac:spMkLst>
        </pc:spChg>
        <pc:spChg chg="mod">
          <ac:chgData name="bullingerm.tmt22" userId="9ce3b8b2-035f-4175-b301-998b03a50e38" providerId="ADAL" clId="{141171B5-8533-4577-ACD0-930FC57440F8}" dt="2025-04-22T14:22:21.992" v="1522" actId="1035"/>
          <ac:spMkLst>
            <pc:docMk/>
            <pc:sldMk cId="46571281" sldId="654"/>
            <ac:spMk id="15" creationId="{26DFE5F8-0678-4E51-A4E4-87AC7E0A1021}"/>
          </ac:spMkLst>
        </pc:spChg>
        <pc:spChg chg="mod">
          <ac:chgData name="bullingerm.tmt22" userId="9ce3b8b2-035f-4175-b301-998b03a50e38" providerId="ADAL" clId="{141171B5-8533-4577-ACD0-930FC57440F8}" dt="2025-04-22T14:22:21.992" v="1522" actId="1035"/>
          <ac:spMkLst>
            <pc:docMk/>
            <pc:sldMk cId="46571281" sldId="654"/>
            <ac:spMk id="21" creationId="{454E27AE-7658-41EA-A151-2EA2E0903A62}"/>
          </ac:spMkLst>
        </pc:spChg>
        <pc:spChg chg="mod">
          <ac:chgData name="bullingerm.tmt22" userId="9ce3b8b2-035f-4175-b301-998b03a50e38" providerId="ADAL" clId="{141171B5-8533-4577-ACD0-930FC57440F8}" dt="2025-04-22T14:22:21.992" v="1522" actId="1035"/>
          <ac:spMkLst>
            <pc:docMk/>
            <pc:sldMk cId="46571281" sldId="654"/>
            <ac:spMk id="28" creationId="{2BBFBA9C-E41B-41B8-8343-075BB621F022}"/>
          </ac:spMkLst>
        </pc:spChg>
        <pc:spChg chg="mod">
          <ac:chgData name="bullingerm.tmt22" userId="9ce3b8b2-035f-4175-b301-998b03a50e38" providerId="ADAL" clId="{141171B5-8533-4577-ACD0-930FC57440F8}" dt="2025-04-22T14:22:21.992" v="1522" actId="1035"/>
          <ac:spMkLst>
            <pc:docMk/>
            <pc:sldMk cId="46571281" sldId="654"/>
            <ac:spMk id="31" creationId="{9CB1E363-38EC-43CE-B6E2-224CC3757928}"/>
          </ac:spMkLst>
        </pc:spChg>
        <pc:spChg chg="mod">
          <ac:chgData name="bullingerm.tmt22" userId="9ce3b8b2-035f-4175-b301-998b03a50e38" providerId="ADAL" clId="{141171B5-8533-4577-ACD0-930FC57440F8}" dt="2025-04-22T14:22:29.611" v="1524" actId="14100"/>
          <ac:spMkLst>
            <pc:docMk/>
            <pc:sldMk cId="46571281" sldId="654"/>
            <ac:spMk id="35" creationId="{8A16B258-906C-4A41-B290-7ED2F42F38D7}"/>
          </ac:spMkLst>
        </pc:spChg>
        <pc:spChg chg="mod">
          <ac:chgData name="bullingerm.tmt22" userId="9ce3b8b2-035f-4175-b301-998b03a50e38" providerId="ADAL" clId="{141171B5-8533-4577-ACD0-930FC57440F8}" dt="2025-04-22T14:22:21.992" v="1522" actId="1035"/>
          <ac:spMkLst>
            <pc:docMk/>
            <pc:sldMk cId="46571281" sldId="654"/>
            <ac:spMk id="36" creationId="{1615C6CA-DD37-4521-97A3-7FAA7154257A}"/>
          </ac:spMkLst>
        </pc:spChg>
        <pc:spChg chg="mod">
          <ac:chgData name="bullingerm.tmt22" userId="9ce3b8b2-035f-4175-b301-998b03a50e38" providerId="ADAL" clId="{141171B5-8533-4577-ACD0-930FC57440F8}" dt="2025-04-22T14:22:34.446" v="1525" actId="14100"/>
          <ac:spMkLst>
            <pc:docMk/>
            <pc:sldMk cId="46571281" sldId="654"/>
            <ac:spMk id="37" creationId="{06F5071F-B002-4E0E-8519-2161E76CF4E9}"/>
          </ac:spMkLst>
        </pc:spChg>
        <pc:spChg chg="mod">
          <ac:chgData name="bullingerm.tmt22" userId="9ce3b8b2-035f-4175-b301-998b03a50e38" providerId="ADAL" clId="{141171B5-8533-4577-ACD0-930FC57440F8}" dt="2025-04-22T14:22:26.549" v="1523" actId="14100"/>
          <ac:spMkLst>
            <pc:docMk/>
            <pc:sldMk cId="46571281" sldId="654"/>
            <ac:spMk id="39" creationId="{81293568-993D-4379-A052-FF88EF4B3588}"/>
          </ac:spMkLst>
        </pc:spChg>
        <pc:spChg chg="mod">
          <ac:chgData name="bullingerm.tmt22" userId="9ce3b8b2-035f-4175-b301-998b03a50e38" providerId="ADAL" clId="{141171B5-8533-4577-ACD0-930FC57440F8}" dt="2025-04-22T14:00:45.106" v="1351" actId="14100"/>
          <ac:spMkLst>
            <pc:docMk/>
            <pc:sldMk cId="46571281" sldId="654"/>
            <ac:spMk id="73" creationId="{63C7F8AD-3C37-40A4-AD1F-D4FCB262D762}"/>
          </ac:spMkLst>
        </pc:spChg>
        <pc:spChg chg="mod">
          <ac:chgData name="bullingerm.tmt22" userId="9ce3b8b2-035f-4175-b301-998b03a50e38" providerId="ADAL" clId="{141171B5-8533-4577-ACD0-930FC57440F8}" dt="2025-04-22T14:22:21.992" v="1522" actId="1035"/>
          <ac:spMkLst>
            <pc:docMk/>
            <pc:sldMk cId="46571281" sldId="654"/>
            <ac:spMk id="102" creationId="{FF43F2A8-8E82-4372-A652-39AD8FB3250A}"/>
          </ac:spMkLst>
        </pc:spChg>
        <pc:cxnChg chg="mod">
          <ac:chgData name="bullingerm.tmt22" userId="9ce3b8b2-035f-4175-b301-998b03a50e38" providerId="ADAL" clId="{141171B5-8533-4577-ACD0-930FC57440F8}" dt="2025-04-22T14:00:45.106" v="1351" actId="14100"/>
          <ac:cxnSpMkLst>
            <pc:docMk/>
            <pc:sldMk cId="46571281" sldId="654"/>
            <ac:cxnSpMk id="44" creationId="{F5EDDE37-66BC-4BDD-A452-B9726EE1D22F}"/>
          </ac:cxnSpMkLst>
        </pc:cxnChg>
        <pc:cxnChg chg="mod">
          <ac:chgData name="bullingerm.tmt22" userId="9ce3b8b2-035f-4175-b301-998b03a50e38" providerId="ADAL" clId="{141171B5-8533-4577-ACD0-930FC57440F8}" dt="2025-04-22T14:22:29.611" v="1524" actId="14100"/>
          <ac:cxnSpMkLst>
            <pc:docMk/>
            <pc:sldMk cId="46571281" sldId="654"/>
            <ac:cxnSpMk id="48" creationId="{14227907-9E88-4EEB-8CA0-23DC5BBB4AA9}"/>
          </ac:cxnSpMkLst>
        </pc:cxnChg>
        <pc:cxnChg chg="mod">
          <ac:chgData name="bullingerm.tmt22" userId="9ce3b8b2-035f-4175-b301-998b03a50e38" providerId="ADAL" clId="{141171B5-8533-4577-ACD0-930FC57440F8}" dt="2025-04-22T14:22:34.446" v="1525" actId="14100"/>
          <ac:cxnSpMkLst>
            <pc:docMk/>
            <pc:sldMk cId="46571281" sldId="654"/>
            <ac:cxnSpMk id="49" creationId="{C1DC32DF-9769-4BD2-A635-3C77FB1D3185}"/>
          </ac:cxnSpMkLst>
        </pc:cxnChg>
        <pc:cxnChg chg="mod">
          <ac:chgData name="bullingerm.tmt22" userId="9ce3b8b2-035f-4175-b301-998b03a50e38" providerId="ADAL" clId="{141171B5-8533-4577-ACD0-930FC57440F8}" dt="2025-04-22T14:22:26.549" v="1523" actId="14100"/>
          <ac:cxnSpMkLst>
            <pc:docMk/>
            <pc:sldMk cId="46571281" sldId="654"/>
            <ac:cxnSpMk id="50" creationId="{A77A1DD0-6BB7-4A41-9456-1F112E49F5EC}"/>
          </ac:cxnSpMkLst>
        </pc:cxnChg>
      </pc:sldChg>
      <pc:sldChg chg="addSp delSp modSp mod">
        <pc:chgData name="bullingerm.tmt22" userId="9ce3b8b2-035f-4175-b301-998b03a50e38" providerId="ADAL" clId="{141171B5-8533-4577-ACD0-930FC57440F8}" dt="2025-04-22T12:12:40.178" v="758" actId="20577"/>
        <pc:sldMkLst>
          <pc:docMk/>
          <pc:sldMk cId="2121743425" sldId="655"/>
        </pc:sldMkLst>
        <pc:spChg chg="add mod">
          <ac:chgData name="bullingerm.tmt22" userId="9ce3b8b2-035f-4175-b301-998b03a50e38" providerId="ADAL" clId="{141171B5-8533-4577-ACD0-930FC57440F8}" dt="2025-04-22T12:10:17.867" v="713" actId="1076"/>
          <ac:spMkLst>
            <pc:docMk/>
            <pc:sldMk cId="2121743425" sldId="655"/>
            <ac:spMk id="16" creationId="{A4437D83-4FCC-F50D-A3DD-027BBA9C9A52}"/>
          </ac:spMkLst>
        </pc:spChg>
        <pc:spChg chg="add mod">
          <ac:chgData name="bullingerm.tmt22" userId="9ce3b8b2-035f-4175-b301-998b03a50e38" providerId="ADAL" clId="{141171B5-8533-4577-ACD0-930FC57440F8}" dt="2025-04-22T12:10:52.236" v="720" actId="207"/>
          <ac:spMkLst>
            <pc:docMk/>
            <pc:sldMk cId="2121743425" sldId="655"/>
            <ac:spMk id="18" creationId="{D6B91461-A85A-A308-CB7C-6CF300D7AE4A}"/>
          </ac:spMkLst>
        </pc:spChg>
        <pc:spChg chg="add mod">
          <ac:chgData name="bullingerm.tmt22" userId="9ce3b8b2-035f-4175-b301-998b03a50e38" providerId="ADAL" clId="{141171B5-8533-4577-ACD0-930FC57440F8}" dt="2025-04-22T12:11:01.495" v="724" actId="1076"/>
          <ac:spMkLst>
            <pc:docMk/>
            <pc:sldMk cId="2121743425" sldId="655"/>
            <ac:spMk id="19" creationId="{8ABD9DC7-8AAB-90B8-D3B8-3768D719C69D}"/>
          </ac:spMkLst>
        </pc:spChg>
        <pc:spChg chg="add mod">
          <ac:chgData name="bullingerm.tmt22" userId="9ce3b8b2-035f-4175-b301-998b03a50e38" providerId="ADAL" clId="{141171B5-8533-4577-ACD0-930FC57440F8}" dt="2025-04-22T12:11:08.732" v="728" actId="1076"/>
          <ac:spMkLst>
            <pc:docMk/>
            <pc:sldMk cId="2121743425" sldId="655"/>
            <ac:spMk id="20" creationId="{F7BF2082-070F-707B-7320-6802DA75051E}"/>
          </ac:spMkLst>
        </pc:spChg>
        <pc:spChg chg="add mod">
          <ac:chgData name="bullingerm.tmt22" userId="9ce3b8b2-035f-4175-b301-998b03a50e38" providerId="ADAL" clId="{141171B5-8533-4577-ACD0-930FC57440F8}" dt="2025-04-22T12:11:29.246" v="732" actId="1076"/>
          <ac:spMkLst>
            <pc:docMk/>
            <pc:sldMk cId="2121743425" sldId="655"/>
            <ac:spMk id="21" creationId="{AD5ED30E-2D0F-24B0-BCA4-8EF742DAF207}"/>
          </ac:spMkLst>
        </pc:spChg>
        <pc:spChg chg="add mod">
          <ac:chgData name="bullingerm.tmt22" userId="9ce3b8b2-035f-4175-b301-998b03a50e38" providerId="ADAL" clId="{141171B5-8533-4577-ACD0-930FC57440F8}" dt="2025-04-22T12:12:10.826" v="738" actId="1076"/>
          <ac:spMkLst>
            <pc:docMk/>
            <pc:sldMk cId="2121743425" sldId="655"/>
            <ac:spMk id="22" creationId="{C4F026FB-3496-63E3-4527-1BEC8A2E28BC}"/>
          </ac:spMkLst>
        </pc:spChg>
        <pc:spChg chg="add mod">
          <ac:chgData name="bullingerm.tmt22" userId="9ce3b8b2-035f-4175-b301-998b03a50e38" providerId="ADAL" clId="{141171B5-8533-4577-ACD0-930FC57440F8}" dt="2025-04-22T12:12:15.249" v="742" actId="20577"/>
          <ac:spMkLst>
            <pc:docMk/>
            <pc:sldMk cId="2121743425" sldId="655"/>
            <ac:spMk id="23" creationId="{A4E5A8DC-ABC4-D9F8-99B1-75337B0F5C76}"/>
          </ac:spMkLst>
        </pc:spChg>
        <pc:spChg chg="add mod">
          <ac:chgData name="bullingerm.tmt22" userId="9ce3b8b2-035f-4175-b301-998b03a50e38" providerId="ADAL" clId="{141171B5-8533-4577-ACD0-930FC57440F8}" dt="2025-04-22T12:12:21.279" v="746" actId="20577"/>
          <ac:spMkLst>
            <pc:docMk/>
            <pc:sldMk cId="2121743425" sldId="655"/>
            <ac:spMk id="24" creationId="{0D21697B-D9AC-C643-E7A5-985D6F839BD1}"/>
          </ac:spMkLst>
        </pc:spChg>
        <pc:spChg chg="add mod">
          <ac:chgData name="bullingerm.tmt22" userId="9ce3b8b2-035f-4175-b301-998b03a50e38" providerId="ADAL" clId="{141171B5-8533-4577-ACD0-930FC57440F8}" dt="2025-04-22T12:12:37.933" v="756" actId="20577"/>
          <ac:spMkLst>
            <pc:docMk/>
            <pc:sldMk cId="2121743425" sldId="655"/>
            <ac:spMk id="25" creationId="{1BC98D9A-6271-0010-179D-F191025C9270}"/>
          </ac:spMkLst>
        </pc:spChg>
        <pc:spChg chg="add mod">
          <ac:chgData name="bullingerm.tmt22" userId="9ce3b8b2-035f-4175-b301-998b03a50e38" providerId="ADAL" clId="{141171B5-8533-4577-ACD0-930FC57440F8}" dt="2025-04-22T12:12:40.178" v="758" actId="20577"/>
          <ac:spMkLst>
            <pc:docMk/>
            <pc:sldMk cId="2121743425" sldId="655"/>
            <ac:spMk id="26" creationId="{42F0E4BC-CAA3-0EB3-EE8E-D25E52EDEB7C}"/>
          </ac:spMkLst>
        </pc:spChg>
        <pc:picChg chg="add mod">
          <ac:chgData name="bullingerm.tmt22" userId="9ce3b8b2-035f-4175-b301-998b03a50e38" providerId="ADAL" clId="{141171B5-8533-4577-ACD0-930FC57440F8}" dt="2025-04-22T12:12:25.828" v="749" actId="1076"/>
          <ac:picMkLst>
            <pc:docMk/>
            <pc:sldMk cId="2121743425" sldId="655"/>
            <ac:picMk id="15" creationId="{60CE480E-7C36-2A6E-FFFB-96D94D1C27B2}"/>
          </ac:picMkLst>
        </pc:picChg>
      </pc:sldChg>
      <pc:sldChg chg="addSp modSp add mod">
        <pc:chgData name="bullingerm.tmt22" userId="9ce3b8b2-035f-4175-b301-998b03a50e38" providerId="ADAL" clId="{141171B5-8533-4577-ACD0-930FC57440F8}" dt="2025-04-22T12:23:19.572" v="824" actId="20577"/>
        <pc:sldMkLst>
          <pc:docMk/>
          <pc:sldMk cId="3108981678" sldId="659"/>
        </pc:sldMkLst>
      </pc:sldChg>
      <pc:sldChg chg="addSp delSp modSp mod">
        <pc:chgData name="bullingerm.tmt22" userId="9ce3b8b2-035f-4175-b301-998b03a50e38" providerId="ADAL" clId="{141171B5-8533-4577-ACD0-930FC57440F8}" dt="2025-04-22T14:21:44.702" v="1517" actId="14100"/>
        <pc:sldMkLst>
          <pc:docMk/>
          <pc:sldMk cId="1194765832" sldId="660"/>
        </pc:sldMkLst>
        <pc:spChg chg="mod">
          <ac:chgData name="bullingerm.tmt22" userId="9ce3b8b2-035f-4175-b301-998b03a50e38" providerId="ADAL" clId="{141171B5-8533-4577-ACD0-930FC57440F8}" dt="2025-04-22T13:48:36.827" v="1147" actId="113"/>
          <ac:spMkLst>
            <pc:docMk/>
            <pc:sldMk cId="1194765832" sldId="660"/>
            <ac:spMk id="3" creationId="{73AA9B3C-0469-D37B-0410-C38D3A0384D8}"/>
          </ac:spMkLst>
        </pc:spChg>
        <pc:spChg chg="mod">
          <ac:chgData name="bullingerm.tmt22" userId="9ce3b8b2-035f-4175-b301-998b03a50e38" providerId="ADAL" clId="{141171B5-8533-4577-ACD0-930FC57440F8}" dt="2025-04-22T14:21:44.702" v="1517" actId="14100"/>
          <ac:spMkLst>
            <pc:docMk/>
            <pc:sldMk cId="1194765832" sldId="660"/>
            <ac:spMk id="59" creationId="{1A87F983-D103-4D14-8089-CFA1788A8974}"/>
          </ac:spMkLst>
        </pc:spChg>
        <pc:cxnChg chg="mod">
          <ac:chgData name="bullingerm.tmt22" userId="9ce3b8b2-035f-4175-b301-998b03a50e38" providerId="ADAL" clId="{141171B5-8533-4577-ACD0-930FC57440F8}" dt="2025-04-22T14:21:44.702" v="1517" actId="14100"/>
          <ac:cxnSpMkLst>
            <pc:docMk/>
            <pc:sldMk cId="1194765832" sldId="660"/>
            <ac:cxnSpMk id="60" creationId="{51404012-42EE-4737-AE0F-2283B248F9DE}"/>
          </ac:cxnSpMkLst>
        </pc:cxnChg>
      </pc:sldChg>
      <pc:sldChg chg="modSp mod modAnim">
        <pc:chgData name="bullingerm.tmt22" userId="9ce3b8b2-035f-4175-b301-998b03a50e38" providerId="ADAL" clId="{141171B5-8533-4577-ACD0-930FC57440F8}" dt="2025-04-22T14:26:01.616" v="1581" actId="1036"/>
        <pc:sldMkLst>
          <pc:docMk/>
          <pc:sldMk cId="581652493" sldId="663"/>
        </pc:sldMkLst>
        <pc:spChg chg="mod">
          <ac:chgData name="bullingerm.tmt22" userId="9ce3b8b2-035f-4175-b301-998b03a50e38" providerId="ADAL" clId="{141171B5-8533-4577-ACD0-930FC57440F8}" dt="2025-04-22T14:26:01.616" v="1581" actId="1036"/>
          <ac:spMkLst>
            <pc:docMk/>
            <pc:sldMk cId="581652493" sldId="663"/>
            <ac:spMk id="12" creationId="{D288ABF8-46DC-E62D-7AD6-9A0F9A110BDC}"/>
          </ac:spMkLst>
        </pc:spChg>
      </pc:sldChg>
      <pc:sldChg chg="modSp mod">
        <pc:chgData name="bullingerm.tmt22" userId="9ce3b8b2-035f-4175-b301-998b03a50e38" providerId="ADAL" clId="{141171B5-8533-4577-ACD0-930FC57440F8}" dt="2025-04-22T14:22:08.382" v="1518" actId="1076"/>
        <pc:sldMkLst>
          <pc:docMk/>
          <pc:sldMk cId="3141788730" sldId="665"/>
        </pc:sldMkLst>
        <pc:spChg chg="mod">
          <ac:chgData name="bullingerm.tmt22" userId="9ce3b8b2-035f-4175-b301-998b03a50e38" providerId="ADAL" clId="{141171B5-8533-4577-ACD0-930FC57440F8}" dt="2025-04-22T14:22:08.382" v="1518" actId="1076"/>
          <ac:spMkLst>
            <pc:docMk/>
            <pc:sldMk cId="3141788730" sldId="665"/>
            <ac:spMk id="7" creationId="{AFCE89D9-849E-F028-7BE9-A9187E0A5535}"/>
          </ac:spMkLst>
        </pc:spChg>
      </pc:sldChg>
      <pc:sldChg chg="modSp mod">
        <pc:chgData name="bullingerm.tmt22" userId="9ce3b8b2-035f-4175-b301-998b03a50e38" providerId="ADAL" clId="{141171B5-8533-4577-ACD0-930FC57440F8}" dt="2025-04-22T14:20:30.829" v="1501" actId="20577"/>
        <pc:sldMkLst>
          <pc:docMk/>
          <pc:sldMk cId="1086977521" sldId="669"/>
        </pc:sldMkLst>
        <pc:spChg chg="mod">
          <ac:chgData name="bullingerm.tmt22" userId="9ce3b8b2-035f-4175-b301-998b03a50e38" providerId="ADAL" clId="{141171B5-8533-4577-ACD0-930FC57440F8}" dt="2025-04-22T14:20:30.829" v="1501" actId="20577"/>
          <ac:spMkLst>
            <pc:docMk/>
            <pc:sldMk cId="1086977521" sldId="669"/>
            <ac:spMk id="7" creationId="{EC63AE0B-A659-4E88-AC99-E9C572E1313E}"/>
          </ac:spMkLst>
        </pc:spChg>
      </pc:sldChg>
      <pc:sldChg chg="addSp delSp modSp mod delAnim modAnim">
        <pc:chgData name="bullingerm.tmt22" userId="9ce3b8b2-035f-4175-b301-998b03a50e38" providerId="ADAL" clId="{141171B5-8533-4577-ACD0-930FC57440F8}" dt="2025-04-22T14:24:34.074" v="1551" actId="1038"/>
        <pc:sldMkLst>
          <pc:docMk/>
          <pc:sldMk cId="3141084410" sldId="674"/>
        </pc:sldMkLst>
        <pc:spChg chg="mod">
          <ac:chgData name="bullingerm.tmt22" userId="9ce3b8b2-035f-4175-b301-998b03a50e38" providerId="ADAL" clId="{141171B5-8533-4577-ACD0-930FC57440F8}" dt="2025-04-22T13:58:08.649" v="1261" actId="20577"/>
          <ac:spMkLst>
            <pc:docMk/>
            <pc:sldMk cId="3141084410" sldId="674"/>
            <ac:spMk id="43" creationId="{97A1965C-43A2-0D3A-BCD3-947EA12F6236}"/>
          </ac:spMkLst>
        </pc:spChg>
        <pc:graphicFrameChg chg="mod">
          <ac:chgData name="bullingerm.tmt22" userId="9ce3b8b2-035f-4175-b301-998b03a50e38" providerId="ADAL" clId="{141171B5-8533-4577-ACD0-930FC57440F8}" dt="2025-04-22T14:24:34.074" v="1551" actId="1038"/>
          <ac:graphicFrameMkLst>
            <pc:docMk/>
            <pc:sldMk cId="3141084410" sldId="674"/>
            <ac:graphicFrameMk id="5" creationId="{EE6D62E5-D795-4508-98E2-1A2145AE8B63}"/>
          </ac:graphicFrameMkLst>
        </pc:graphicFrameChg>
      </pc:sldChg>
      <pc:sldChg chg="addSp delSp modSp mod delAnim modAnim">
        <pc:chgData name="bullingerm.tmt22" userId="9ce3b8b2-035f-4175-b301-998b03a50e38" providerId="ADAL" clId="{141171B5-8533-4577-ACD0-930FC57440F8}" dt="2025-04-22T14:23:29.997" v="1537" actId="1076"/>
        <pc:sldMkLst>
          <pc:docMk/>
          <pc:sldMk cId="3585174266" sldId="675"/>
        </pc:sldMkLst>
        <pc:spChg chg="mod">
          <ac:chgData name="bullingerm.tmt22" userId="9ce3b8b2-035f-4175-b301-998b03a50e38" providerId="ADAL" clId="{141171B5-8533-4577-ACD0-930FC57440F8}" dt="2025-04-22T13:58:17.676" v="1265" actId="20577"/>
          <ac:spMkLst>
            <pc:docMk/>
            <pc:sldMk cId="3585174266" sldId="675"/>
            <ac:spMk id="43" creationId="{97A1965C-43A2-0D3A-BCD3-947EA12F6236}"/>
          </ac:spMkLst>
        </pc:spChg>
        <pc:graphicFrameChg chg="add mod">
          <ac:chgData name="bullingerm.tmt22" userId="9ce3b8b2-035f-4175-b301-998b03a50e38" providerId="ADAL" clId="{141171B5-8533-4577-ACD0-930FC57440F8}" dt="2025-04-22T14:23:29.997" v="1537" actId="1076"/>
          <ac:graphicFrameMkLst>
            <pc:docMk/>
            <pc:sldMk cId="3585174266" sldId="675"/>
            <ac:graphicFrameMk id="2" creationId="{9AF3E1BA-E85E-A501-8738-C45D146AA5F0}"/>
          </ac:graphicFrameMkLst>
        </pc:graphicFrameChg>
      </pc:sldChg>
      <pc:sldChg chg="modSp mod">
        <pc:chgData name="bullingerm.tmt22" userId="9ce3b8b2-035f-4175-b301-998b03a50e38" providerId="ADAL" clId="{141171B5-8533-4577-ACD0-930FC57440F8}" dt="2025-04-22T13:58:52.907" v="1302" actId="1038"/>
        <pc:sldMkLst>
          <pc:docMk/>
          <pc:sldMk cId="1520689549" sldId="676"/>
        </pc:sldMkLst>
        <pc:spChg chg="mod">
          <ac:chgData name="bullingerm.tmt22" userId="9ce3b8b2-035f-4175-b301-998b03a50e38" providerId="ADAL" clId="{141171B5-8533-4577-ACD0-930FC57440F8}" dt="2025-04-22T13:58:42.930" v="1291" actId="14100"/>
          <ac:spMkLst>
            <pc:docMk/>
            <pc:sldMk cId="1520689549" sldId="676"/>
            <ac:spMk id="9" creationId="{FF18D207-05A0-4077-9520-789C7A5E5577}"/>
          </ac:spMkLst>
        </pc:spChg>
        <pc:spChg chg="mod">
          <ac:chgData name="bullingerm.tmt22" userId="9ce3b8b2-035f-4175-b301-998b03a50e38" providerId="ADAL" clId="{141171B5-8533-4577-ACD0-930FC57440F8}" dt="2025-04-22T13:58:23.999" v="1271" actId="20577"/>
          <ac:spMkLst>
            <pc:docMk/>
            <pc:sldMk cId="1520689549" sldId="676"/>
            <ac:spMk id="43" creationId="{97A1965C-43A2-0D3A-BCD3-947EA12F6236}"/>
          </ac:spMkLst>
        </pc:spChg>
        <pc:graphicFrameChg chg="mod">
          <ac:chgData name="bullingerm.tmt22" userId="9ce3b8b2-035f-4175-b301-998b03a50e38" providerId="ADAL" clId="{141171B5-8533-4577-ACD0-930FC57440F8}" dt="2025-04-22T13:58:52.907" v="1302" actId="1038"/>
          <ac:graphicFrameMkLst>
            <pc:docMk/>
            <pc:sldMk cId="1520689549" sldId="676"/>
            <ac:graphicFrameMk id="3" creationId="{466584C2-2C21-487F-99EB-270947826A6E}"/>
          </ac:graphicFrameMkLst>
        </pc:graphicFrameChg>
      </pc:sldChg>
      <pc:sldChg chg="modSp mod">
        <pc:chgData name="bullingerm.tmt22" userId="9ce3b8b2-035f-4175-b301-998b03a50e38" providerId="ADAL" clId="{141171B5-8533-4577-ACD0-930FC57440F8}" dt="2025-04-22T14:20:51.427" v="1515" actId="1038"/>
        <pc:sldMkLst>
          <pc:docMk/>
          <pc:sldMk cId="775585486" sldId="677"/>
        </pc:sldMkLst>
        <pc:spChg chg="mod">
          <ac:chgData name="bullingerm.tmt22" userId="9ce3b8b2-035f-4175-b301-998b03a50e38" providerId="ADAL" clId="{141171B5-8533-4577-ACD0-930FC57440F8}" dt="2025-04-22T14:20:51.427" v="1515" actId="1038"/>
          <ac:spMkLst>
            <pc:docMk/>
            <pc:sldMk cId="775585486" sldId="677"/>
            <ac:spMk id="18" creationId="{5BF51CDC-3C15-9F07-36F9-1A846D536A9C}"/>
          </ac:spMkLst>
        </pc:spChg>
        <pc:cxnChg chg="mod">
          <ac:chgData name="bullingerm.tmt22" userId="9ce3b8b2-035f-4175-b301-998b03a50e38" providerId="ADAL" clId="{141171B5-8533-4577-ACD0-930FC57440F8}" dt="2025-04-22T14:20:51.427" v="1515" actId="1038"/>
          <ac:cxnSpMkLst>
            <pc:docMk/>
            <pc:sldMk cId="775585486" sldId="677"/>
            <ac:cxnSpMk id="19" creationId="{ADE9418F-067C-08A8-6195-D72402478B2F}"/>
          </ac:cxnSpMkLst>
        </pc:cxnChg>
      </pc:sldChg>
      <pc:sldChg chg="addSp delSp modSp mod">
        <pc:chgData name="bullingerm.tmt22" userId="9ce3b8b2-035f-4175-b301-998b03a50e38" providerId="ADAL" clId="{141171B5-8533-4577-ACD0-930FC57440F8}" dt="2025-04-22T14:04:09.769" v="1409" actId="20577"/>
        <pc:sldMkLst>
          <pc:docMk/>
          <pc:sldMk cId="3106000447" sldId="678"/>
        </pc:sldMkLst>
        <pc:spChg chg="mod">
          <ac:chgData name="bullingerm.tmt22" userId="9ce3b8b2-035f-4175-b301-998b03a50e38" providerId="ADAL" clId="{141171B5-8533-4577-ACD0-930FC57440F8}" dt="2025-04-22T14:04:09.769" v="1409" actId="20577"/>
          <ac:spMkLst>
            <pc:docMk/>
            <pc:sldMk cId="3106000447" sldId="678"/>
            <ac:spMk id="3" creationId="{B1B73A3E-0A72-9216-A0C6-EC58AF00CE90}"/>
          </ac:spMkLst>
        </pc:spChg>
        <pc:spChg chg="add mod">
          <ac:chgData name="bullingerm.tmt22" userId="9ce3b8b2-035f-4175-b301-998b03a50e38" providerId="ADAL" clId="{141171B5-8533-4577-ACD0-930FC57440F8}" dt="2025-04-22T14:03:26.574" v="1393" actId="478"/>
          <ac:spMkLst>
            <pc:docMk/>
            <pc:sldMk cId="3106000447" sldId="678"/>
            <ac:spMk id="10" creationId="{D98B51A1-1C0C-2D13-B12F-6AD6AD42B719}"/>
          </ac:spMkLst>
        </pc:spChg>
        <pc:graphicFrameChg chg="mod">
          <ac:chgData name="bullingerm.tmt22" userId="9ce3b8b2-035f-4175-b301-998b03a50e38" providerId="ADAL" clId="{141171B5-8533-4577-ACD0-930FC57440F8}" dt="2025-04-22T14:03:13.815" v="1391" actId="1076"/>
          <ac:graphicFrameMkLst>
            <pc:docMk/>
            <pc:sldMk cId="3106000447" sldId="678"/>
            <ac:graphicFrameMk id="7" creationId="{21AFBF90-C534-4E50-AE0B-4BF0D0CA8F79}"/>
          </ac:graphicFrameMkLst>
        </pc:graphicFrameChg>
        <pc:graphicFrameChg chg="mod">
          <ac:chgData name="bullingerm.tmt22" userId="9ce3b8b2-035f-4175-b301-998b03a50e38" providerId="ADAL" clId="{141171B5-8533-4577-ACD0-930FC57440F8}" dt="2025-04-22T14:03:21.588" v="1392" actId="1076"/>
          <ac:graphicFrameMkLst>
            <pc:docMk/>
            <pc:sldMk cId="3106000447" sldId="678"/>
            <ac:graphicFrameMk id="8" creationId="{67CBF825-0946-4F89-9D3F-4B9B72DA03BE}"/>
          </ac:graphicFrameMkLst>
        </pc:graphicFrameChg>
      </pc:sldChg>
      <pc:sldChg chg="addSp delSp modSp mod">
        <pc:chgData name="bullingerm.tmt22" userId="9ce3b8b2-035f-4175-b301-998b03a50e38" providerId="ADAL" clId="{141171B5-8533-4577-ACD0-930FC57440F8}" dt="2025-04-22T14:06:08.474" v="1466" actId="478"/>
        <pc:sldMkLst>
          <pc:docMk/>
          <pc:sldMk cId="1916272374" sldId="679"/>
        </pc:sldMkLst>
        <pc:spChg chg="mod">
          <ac:chgData name="bullingerm.tmt22" userId="9ce3b8b2-035f-4175-b301-998b03a50e38" providerId="ADAL" clId="{141171B5-8533-4577-ACD0-930FC57440F8}" dt="2025-04-22T14:06:06.553" v="1465" actId="113"/>
          <ac:spMkLst>
            <pc:docMk/>
            <pc:sldMk cId="1916272374" sldId="679"/>
            <ac:spMk id="3" creationId="{F19D1047-3C23-E851-D4C4-8F9D78E362A5}"/>
          </ac:spMkLst>
        </pc:spChg>
        <pc:spChg chg="mod">
          <ac:chgData name="bullingerm.tmt22" userId="9ce3b8b2-035f-4175-b301-998b03a50e38" providerId="ADAL" clId="{141171B5-8533-4577-ACD0-930FC57440F8}" dt="2025-04-22T13:44:35.946" v="995" actId="1035"/>
          <ac:spMkLst>
            <pc:docMk/>
            <pc:sldMk cId="1916272374" sldId="679"/>
            <ac:spMk id="10" creationId="{D4E60825-7437-46FF-BA7F-6FFC36A25265}"/>
          </ac:spMkLst>
        </pc:spChg>
        <pc:spChg chg="mod">
          <ac:chgData name="bullingerm.tmt22" userId="9ce3b8b2-035f-4175-b301-998b03a50e38" providerId="ADAL" clId="{141171B5-8533-4577-ACD0-930FC57440F8}" dt="2025-04-22T13:44:35.946" v="995" actId="1035"/>
          <ac:spMkLst>
            <pc:docMk/>
            <pc:sldMk cId="1916272374" sldId="679"/>
            <ac:spMk id="11" creationId="{9B090EAB-AD2E-4FD0-901B-CB085AB7EE9B}"/>
          </ac:spMkLst>
        </pc:spChg>
        <pc:spChg chg="add mod">
          <ac:chgData name="bullingerm.tmt22" userId="9ce3b8b2-035f-4175-b301-998b03a50e38" providerId="ADAL" clId="{141171B5-8533-4577-ACD0-930FC57440F8}" dt="2025-04-22T14:06:08.474" v="1466" actId="478"/>
          <ac:spMkLst>
            <pc:docMk/>
            <pc:sldMk cId="1916272374" sldId="679"/>
            <ac:spMk id="14" creationId="{454F4D30-9ADE-4FF2-76E9-430D0984A333}"/>
          </ac:spMkLst>
        </pc:spChg>
        <pc:spChg chg="mod">
          <ac:chgData name="bullingerm.tmt22" userId="9ce3b8b2-035f-4175-b301-998b03a50e38" providerId="ADAL" clId="{141171B5-8533-4577-ACD0-930FC57440F8}" dt="2025-04-22T13:44:35.946" v="995" actId="1035"/>
          <ac:spMkLst>
            <pc:docMk/>
            <pc:sldMk cId="1916272374" sldId="679"/>
            <ac:spMk id="24" creationId="{CC3D0415-381D-4E58-AA79-6074E854B8F3}"/>
          </ac:spMkLst>
        </pc:spChg>
        <pc:spChg chg="mod">
          <ac:chgData name="bullingerm.tmt22" userId="9ce3b8b2-035f-4175-b301-998b03a50e38" providerId="ADAL" clId="{141171B5-8533-4577-ACD0-930FC57440F8}" dt="2025-04-22T13:44:35.946" v="995" actId="1035"/>
          <ac:spMkLst>
            <pc:docMk/>
            <pc:sldMk cId="1916272374" sldId="679"/>
            <ac:spMk id="26" creationId="{23F32E35-78BB-4811-8678-861F42E7F956}"/>
          </ac:spMkLst>
        </pc:spChg>
        <pc:spChg chg="mod">
          <ac:chgData name="bullingerm.tmt22" userId="9ce3b8b2-035f-4175-b301-998b03a50e38" providerId="ADAL" clId="{141171B5-8533-4577-ACD0-930FC57440F8}" dt="2025-04-22T13:44:35.946" v="995" actId="1035"/>
          <ac:spMkLst>
            <pc:docMk/>
            <pc:sldMk cId="1916272374" sldId="679"/>
            <ac:spMk id="27" creationId="{F045C2D1-4D47-43EF-AC0D-B7F6D44B6E57}"/>
          </ac:spMkLst>
        </pc:spChg>
        <pc:spChg chg="mod">
          <ac:chgData name="bullingerm.tmt22" userId="9ce3b8b2-035f-4175-b301-998b03a50e38" providerId="ADAL" clId="{141171B5-8533-4577-ACD0-930FC57440F8}" dt="2025-04-22T13:44:35.946" v="995" actId="1035"/>
          <ac:spMkLst>
            <pc:docMk/>
            <pc:sldMk cId="1916272374" sldId="679"/>
            <ac:spMk id="28" creationId="{2C31584A-8033-4D1C-827F-AF2C2BF2FEB9}"/>
          </ac:spMkLst>
        </pc:spChg>
        <pc:spChg chg="mod">
          <ac:chgData name="bullingerm.tmt22" userId="9ce3b8b2-035f-4175-b301-998b03a50e38" providerId="ADAL" clId="{141171B5-8533-4577-ACD0-930FC57440F8}" dt="2025-04-22T13:44:35.946" v="995" actId="1035"/>
          <ac:spMkLst>
            <pc:docMk/>
            <pc:sldMk cId="1916272374" sldId="679"/>
            <ac:spMk id="29" creationId="{0C8B30A8-A1BE-40E4-A562-58548F71E334}"/>
          </ac:spMkLst>
        </pc:spChg>
        <pc:spChg chg="mod">
          <ac:chgData name="bullingerm.tmt22" userId="9ce3b8b2-035f-4175-b301-998b03a50e38" providerId="ADAL" clId="{141171B5-8533-4577-ACD0-930FC57440F8}" dt="2025-04-22T13:44:35.946" v="995" actId="1035"/>
          <ac:spMkLst>
            <pc:docMk/>
            <pc:sldMk cId="1916272374" sldId="679"/>
            <ac:spMk id="30" creationId="{FFF63F36-0433-4057-89F6-C170B0A041FA}"/>
          </ac:spMkLst>
        </pc:spChg>
        <pc:spChg chg="mod">
          <ac:chgData name="bullingerm.tmt22" userId="9ce3b8b2-035f-4175-b301-998b03a50e38" providerId="ADAL" clId="{141171B5-8533-4577-ACD0-930FC57440F8}" dt="2025-04-22T13:44:35.946" v="995" actId="1035"/>
          <ac:spMkLst>
            <pc:docMk/>
            <pc:sldMk cId="1916272374" sldId="679"/>
            <ac:spMk id="31" creationId="{73067868-09FF-43E0-8CC8-7491C4FCC7A8}"/>
          </ac:spMkLst>
        </pc:spChg>
        <pc:spChg chg="mod">
          <ac:chgData name="bullingerm.tmt22" userId="9ce3b8b2-035f-4175-b301-998b03a50e38" providerId="ADAL" clId="{141171B5-8533-4577-ACD0-930FC57440F8}" dt="2025-04-22T13:44:35.946" v="995" actId="1035"/>
          <ac:spMkLst>
            <pc:docMk/>
            <pc:sldMk cId="1916272374" sldId="679"/>
            <ac:spMk id="32" creationId="{050B9D80-4051-4EA4-8C97-CF933D1FC74A}"/>
          </ac:spMkLst>
        </pc:spChg>
        <pc:spChg chg="mod">
          <ac:chgData name="bullingerm.tmt22" userId="9ce3b8b2-035f-4175-b301-998b03a50e38" providerId="ADAL" clId="{141171B5-8533-4577-ACD0-930FC57440F8}" dt="2025-04-22T13:46:27.565" v="1023" actId="1035"/>
          <ac:spMkLst>
            <pc:docMk/>
            <pc:sldMk cId="1916272374" sldId="679"/>
            <ac:spMk id="34" creationId="{907CB028-DCF3-41AA-8710-D8BA85A245AB}"/>
          </ac:spMkLst>
        </pc:spChg>
        <pc:spChg chg="mod">
          <ac:chgData name="bullingerm.tmt22" userId="9ce3b8b2-035f-4175-b301-998b03a50e38" providerId="ADAL" clId="{141171B5-8533-4577-ACD0-930FC57440F8}" dt="2025-04-22T13:46:27.565" v="1023" actId="1035"/>
          <ac:spMkLst>
            <pc:docMk/>
            <pc:sldMk cId="1916272374" sldId="679"/>
            <ac:spMk id="36" creationId="{22194739-B4CB-4887-80E1-70E98C5B8799}"/>
          </ac:spMkLst>
        </pc:spChg>
        <pc:spChg chg="mod">
          <ac:chgData name="bullingerm.tmt22" userId="9ce3b8b2-035f-4175-b301-998b03a50e38" providerId="ADAL" clId="{141171B5-8533-4577-ACD0-930FC57440F8}" dt="2025-04-22T13:46:27.565" v="1023" actId="1035"/>
          <ac:spMkLst>
            <pc:docMk/>
            <pc:sldMk cId="1916272374" sldId="679"/>
            <ac:spMk id="37" creationId="{BD57B453-3A97-498B-A91A-8968980BE498}"/>
          </ac:spMkLst>
        </pc:spChg>
        <pc:spChg chg="mod">
          <ac:chgData name="bullingerm.tmt22" userId="9ce3b8b2-035f-4175-b301-998b03a50e38" providerId="ADAL" clId="{141171B5-8533-4577-ACD0-930FC57440F8}" dt="2025-04-22T13:45:16.209" v="1001" actId="14100"/>
          <ac:spMkLst>
            <pc:docMk/>
            <pc:sldMk cId="1916272374" sldId="679"/>
            <ac:spMk id="38" creationId="{D2D99380-8A77-46FC-8DF4-22BEF58F7AE2}"/>
          </ac:spMkLst>
        </pc:spChg>
        <pc:spChg chg="mod">
          <ac:chgData name="bullingerm.tmt22" userId="9ce3b8b2-035f-4175-b301-998b03a50e38" providerId="ADAL" clId="{141171B5-8533-4577-ACD0-930FC57440F8}" dt="2025-04-22T13:46:27.565" v="1023" actId="1035"/>
          <ac:spMkLst>
            <pc:docMk/>
            <pc:sldMk cId="1916272374" sldId="679"/>
            <ac:spMk id="39" creationId="{2A2A3465-C99A-4F91-9C16-5AF7E64361AC}"/>
          </ac:spMkLst>
        </pc:spChg>
        <pc:spChg chg="mod">
          <ac:chgData name="bullingerm.tmt22" userId="9ce3b8b2-035f-4175-b301-998b03a50e38" providerId="ADAL" clId="{141171B5-8533-4577-ACD0-930FC57440F8}" dt="2025-04-22T13:46:27.565" v="1023" actId="1035"/>
          <ac:spMkLst>
            <pc:docMk/>
            <pc:sldMk cId="1916272374" sldId="679"/>
            <ac:spMk id="40" creationId="{5E8D9890-0CE3-4E8A-A3FD-DADC36812966}"/>
          </ac:spMkLst>
        </pc:spChg>
        <pc:spChg chg="mod">
          <ac:chgData name="bullingerm.tmt22" userId="9ce3b8b2-035f-4175-b301-998b03a50e38" providerId="ADAL" clId="{141171B5-8533-4577-ACD0-930FC57440F8}" dt="2025-04-22T13:46:27.565" v="1023" actId="1035"/>
          <ac:spMkLst>
            <pc:docMk/>
            <pc:sldMk cId="1916272374" sldId="679"/>
            <ac:spMk id="41" creationId="{CDC68807-4C7E-41FD-B10D-399D632B2CA9}"/>
          </ac:spMkLst>
        </pc:spChg>
        <pc:spChg chg="mod">
          <ac:chgData name="bullingerm.tmt22" userId="9ce3b8b2-035f-4175-b301-998b03a50e38" providerId="ADAL" clId="{141171B5-8533-4577-ACD0-930FC57440F8}" dt="2025-04-22T13:46:27.565" v="1023" actId="1035"/>
          <ac:spMkLst>
            <pc:docMk/>
            <pc:sldMk cId="1916272374" sldId="679"/>
            <ac:spMk id="42" creationId="{30CC6FDC-011C-4247-A7B4-58F6E48CE947}"/>
          </ac:spMkLst>
        </pc:spChg>
        <pc:spChg chg="mod">
          <ac:chgData name="bullingerm.tmt22" userId="9ce3b8b2-035f-4175-b301-998b03a50e38" providerId="ADAL" clId="{141171B5-8533-4577-ACD0-930FC57440F8}" dt="2025-04-22T13:46:27.565" v="1023" actId="1035"/>
          <ac:spMkLst>
            <pc:docMk/>
            <pc:sldMk cId="1916272374" sldId="679"/>
            <ac:spMk id="43" creationId="{9CF614EA-F38D-48BB-BDC9-8139981E6BDF}"/>
          </ac:spMkLst>
        </pc:spChg>
        <pc:spChg chg="mod">
          <ac:chgData name="bullingerm.tmt22" userId="9ce3b8b2-035f-4175-b301-998b03a50e38" providerId="ADAL" clId="{141171B5-8533-4577-ACD0-930FC57440F8}" dt="2025-04-22T13:46:27.565" v="1023" actId="1035"/>
          <ac:spMkLst>
            <pc:docMk/>
            <pc:sldMk cId="1916272374" sldId="679"/>
            <ac:spMk id="57" creationId="{9F6F1732-E57B-48B3-A71A-8423F94FE304}"/>
          </ac:spMkLst>
        </pc:spChg>
        <pc:spChg chg="mod">
          <ac:chgData name="bullingerm.tmt22" userId="9ce3b8b2-035f-4175-b301-998b03a50e38" providerId="ADAL" clId="{141171B5-8533-4577-ACD0-930FC57440F8}" dt="2025-04-22T13:46:27.565" v="1023" actId="1035"/>
          <ac:spMkLst>
            <pc:docMk/>
            <pc:sldMk cId="1916272374" sldId="679"/>
            <ac:spMk id="58" creationId="{648C04DA-7DF2-4460-9F4B-B365DC4917F1}"/>
          </ac:spMkLst>
        </pc:spChg>
        <pc:spChg chg="mod">
          <ac:chgData name="bullingerm.tmt22" userId="9ce3b8b2-035f-4175-b301-998b03a50e38" providerId="ADAL" clId="{141171B5-8533-4577-ACD0-930FC57440F8}" dt="2025-04-22T14:05:20.213" v="1449" actId="1076"/>
          <ac:spMkLst>
            <pc:docMk/>
            <pc:sldMk cId="1916272374" sldId="679"/>
            <ac:spMk id="59" creationId="{2BED8017-E6D4-4B9B-AE87-05D05D8BEFC1}"/>
          </ac:spMkLst>
        </pc:spChg>
        <pc:spChg chg="mod">
          <ac:chgData name="bullingerm.tmt22" userId="9ce3b8b2-035f-4175-b301-998b03a50e38" providerId="ADAL" clId="{141171B5-8533-4577-ACD0-930FC57440F8}" dt="2025-04-22T14:05:25.965" v="1450" actId="1076"/>
          <ac:spMkLst>
            <pc:docMk/>
            <pc:sldMk cId="1916272374" sldId="679"/>
            <ac:spMk id="60" creationId="{622368D2-8004-4091-8FDB-2C8976587DF9}"/>
          </ac:spMkLst>
        </pc:spChg>
        <pc:spChg chg="mod">
          <ac:chgData name="bullingerm.tmt22" userId="9ce3b8b2-035f-4175-b301-998b03a50e38" providerId="ADAL" clId="{141171B5-8533-4577-ACD0-930FC57440F8}" dt="2025-04-22T14:05:43.931" v="1462" actId="1035"/>
          <ac:spMkLst>
            <pc:docMk/>
            <pc:sldMk cId="1916272374" sldId="679"/>
            <ac:spMk id="61" creationId="{C71ED1D8-1BC4-4599-9508-F818830F4ED5}"/>
          </ac:spMkLst>
        </pc:spChg>
        <pc:spChg chg="mod">
          <ac:chgData name="bullingerm.tmt22" userId="9ce3b8b2-035f-4175-b301-998b03a50e38" providerId="ADAL" clId="{141171B5-8533-4577-ACD0-930FC57440F8}" dt="2025-04-22T14:05:51.342" v="1463" actId="1076"/>
          <ac:spMkLst>
            <pc:docMk/>
            <pc:sldMk cId="1916272374" sldId="679"/>
            <ac:spMk id="62" creationId="{3C711AE8-3DE9-4904-9083-25FDD0F7A80D}"/>
          </ac:spMkLst>
        </pc:spChg>
        <pc:cxnChg chg="mod">
          <ac:chgData name="bullingerm.tmt22" userId="9ce3b8b2-035f-4175-b301-998b03a50e38" providerId="ADAL" clId="{141171B5-8533-4577-ACD0-930FC57440F8}" dt="2025-04-22T13:45:29.696" v="1004" actId="14100"/>
          <ac:cxnSpMkLst>
            <pc:docMk/>
            <pc:sldMk cId="1916272374" sldId="679"/>
            <ac:cxnSpMk id="46" creationId="{EEB3EBD4-44E2-4C72-8DA6-279203768F7C}"/>
          </ac:cxnSpMkLst>
        </pc:cxnChg>
        <pc:cxnChg chg="mod">
          <ac:chgData name="bullingerm.tmt22" userId="9ce3b8b2-035f-4175-b301-998b03a50e38" providerId="ADAL" clId="{141171B5-8533-4577-ACD0-930FC57440F8}" dt="2025-04-22T13:45:37.865" v="1006" actId="14100"/>
          <ac:cxnSpMkLst>
            <pc:docMk/>
            <pc:sldMk cId="1916272374" sldId="679"/>
            <ac:cxnSpMk id="48" creationId="{A53F460B-053B-4BCE-9815-F8B96D79DEA9}"/>
          </ac:cxnSpMkLst>
        </pc:cxnChg>
        <pc:cxnChg chg="mod">
          <ac:chgData name="bullingerm.tmt22" userId="9ce3b8b2-035f-4175-b301-998b03a50e38" providerId="ADAL" clId="{141171B5-8533-4577-ACD0-930FC57440F8}" dt="2025-04-22T13:45:20.139" v="1002" actId="14100"/>
          <ac:cxnSpMkLst>
            <pc:docMk/>
            <pc:sldMk cId="1916272374" sldId="679"/>
            <ac:cxnSpMk id="51" creationId="{E4BF4A7A-EEF5-4176-951B-76697C6E55D5}"/>
          </ac:cxnSpMkLst>
        </pc:cxnChg>
      </pc:sldChg>
      <pc:sldChg chg="addSp delSp modSp mod">
        <pc:chgData name="bullingerm.tmt22" userId="9ce3b8b2-035f-4175-b301-998b03a50e38" providerId="ADAL" clId="{141171B5-8533-4577-ACD0-930FC57440F8}" dt="2025-04-22T14:06:45.082" v="1496" actId="208"/>
        <pc:sldMkLst>
          <pc:docMk/>
          <pc:sldMk cId="3885160775" sldId="680"/>
        </pc:sldMkLst>
        <pc:spChg chg="mod">
          <ac:chgData name="bullingerm.tmt22" userId="9ce3b8b2-035f-4175-b301-998b03a50e38" providerId="ADAL" clId="{141171B5-8533-4577-ACD0-930FC57440F8}" dt="2025-04-22T13:47:39.982" v="1042" actId="113"/>
          <ac:spMkLst>
            <pc:docMk/>
            <pc:sldMk cId="3885160775" sldId="680"/>
            <ac:spMk id="3" creationId="{F19D1047-3C23-E851-D4C4-8F9D78E362A5}"/>
          </ac:spMkLst>
        </pc:spChg>
        <pc:spChg chg="mod">
          <ac:chgData name="bullingerm.tmt22" userId="9ce3b8b2-035f-4175-b301-998b03a50e38" providerId="ADAL" clId="{141171B5-8533-4577-ACD0-930FC57440F8}" dt="2025-04-22T14:06:28.734" v="1495" actId="1038"/>
          <ac:spMkLst>
            <pc:docMk/>
            <pc:sldMk cId="3885160775" sldId="680"/>
            <ac:spMk id="10" creationId="{D4905E52-C0E5-4EA3-8AC1-C6751FE3D2E7}"/>
          </ac:spMkLst>
        </pc:spChg>
        <pc:spChg chg="mod">
          <ac:chgData name="bullingerm.tmt22" userId="9ce3b8b2-035f-4175-b301-998b03a50e38" providerId="ADAL" clId="{141171B5-8533-4577-ACD0-930FC57440F8}" dt="2025-04-22T14:06:28.734" v="1495" actId="1038"/>
          <ac:spMkLst>
            <pc:docMk/>
            <pc:sldMk cId="3885160775" sldId="680"/>
            <ac:spMk id="11" creationId="{0268A752-4C64-4731-B6A0-F72222C4D65B}"/>
          </ac:spMkLst>
        </pc:spChg>
        <pc:spChg chg="mod">
          <ac:chgData name="bullingerm.tmt22" userId="9ce3b8b2-035f-4175-b301-998b03a50e38" providerId="ADAL" clId="{141171B5-8533-4577-ACD0-930FC57440F8}" dt="2025-04-22T14:06:28.734" v="1495" actId="1038"/>
          <ac:spMkLst>
            <pc:docMk/>
            <pc:sldMk cId="3885160775" sldId="680"/>
            <ac:spMk id="12" creationId="{BC04E68C-E1F4-4FFA-BB20-F519F8E231FE}"/>
          </ac:spMkLst>
        </pc:spChg>
        <pc:spChg chg="mod">
          <ac:chgData name="bullingerm.tmt22" userId="9ce3b8b2-035f-4175-b301-998b03a50e38" providerId="ADAL" clId="{141171B5-8533-4577-ACD0-930FC57440F8}" dt="2025-04-22T14:06:28.734" v="1495" actId="1038"/>
          <ac:spMkLst>
            <pc:docMk/>
            <pc:sldMk cId="3885160775" sldId="680"/>
            <ac:spMk id="13" creationId="{18A94016-0DFA-40FD-BFCF-715B9820D6E6}"/>
          </ac:spMkLst>
        </pc:spChg>
        <pc:spChg chg="mod">
          <ac:chgData name="bullingerm.tmt22" userId="9ce3b8b2-035f-4175-b301-998b03a50e38" providerId="ADAL" clId="{141171B5-8533-4577-ACD0-930FC57440F8}" dt="2025-04-22T14:06:28.734" v="1495" actId="1038"/>
          <ac:spMkLst>
            <pc:docMk/>
            <pc:sldMk cId="3885160775" sldId="680"/>
            <ac:spMk id="25" creationId="{D5F60A77-D150-490C-964A-C5B8C2BA07DF}"/>
          </ac:spMkLst>
        </pc:spChg>
        <pc:spChg chg="mod">
          <ac:chgData name="bullingerm.tmt22" userId="9ce3b8b2-035f-4175-b301-998b03a50e38" providerId="ADAL" clId="{141171B5-8533-4577-ACD0-930FC57440F8}" dt="2025-04-22T14:06:28.734" v="1495" actId="1038"/>
          <ac:spMkLst>
            <pc:docMk/>
            <pc:sldMk cId="3885160775" sldId="680"/>
            <ac:spMk id="28" creationId="{7B7D18CD-D292-4709-97BE-6983C96E6C8C}"/>
          </ac:spMkLst>
        </pc:spChg>
        <pc:graphicFrameChg chg="mod">
          <ac:chgData name="bullingerm.tmt22" userId="9ce3b8b2-035f-4175-b301-998b03a50e38" providerId="ADAL" clId="{141171B5-8533-4577-ACD0-930FC57440F8}" dt="2025-04-22T14:06:28.734" v="1495" actId="1038"/>
          <ac:graphicFrameMkLst>
            <pc:docMk/>
            <pc:sldMk cId="3885160775" sldId="680"/>
            <ac:graphicFrameMk id="9" creationId="{9A90C581-6408-4E08-9022-DF64709A512A}"/>
          </ac:graphicFrameMkLst>
        </pc:graphicFrameChg>
        <pc:cxnChg chg="mod">
          <ac:chgData name="bullingerm.tmt22" userId="9ce3b8b2-035f-4175-b301-998b03a50e38" providerId="ADAL" clId="{141171B5-8533-4577-ACD0-930FC57440F8}" dt="2025-04-22T14:06:45.082" v="1496" actId="208"/>
          <ac:cxnSpMkLst>
            <pc:docMk/>
            <pc:sldMk cId="3885160775" sldId="680"/>
            <ac:cxnSpMk id="15" creationId="{613728BC-F39D-4DDE-87C5-15124EA9A7D6}"/>
          </ac:cxnSpMkLst>
        </pc:cxnChg>
        <pc:cxnChg chg="mod">
          <ac:chgData name="bullingerm.tmt22" userId="9ce3b8b2-035f-4175-b301-998b03a50e38" providerId="ADAL" clId="{141171B5-8533-4577-ACD0-930FC57440F8}" dt="2025-04-22T14:06:45.082" v="1496" actId="208"/>
          <ac:cxnSpMkLst>
            <pc:docMk/>
            <pc:sldMk cId="3885160775" sldId="680"/>
            <ac:cxnSpMk id="17" creationId="{59820958-591E-42E9-8CDA-A7251CAD4AE2}"/>
          </ac:cxnSpMkLst>
        </pc:cxnChg>
        <pc:cxnChg chg="mod">
          <ac:chgData name="bullingerm.tmt22" userId="9ce3b8b2-035f-4175-b301-998b03a50e38" providerId="ADAL" clId="{141171B5-8533-4577-ACD0-930FC57440F8}" dt="2025-04-22T14:06:45.082" v="1496" actId="208"/>
          <ac:cxnSpMkLst>
            <pc:docMk/>
            <pc:sldMk cId="3885160775" sldId="680"/>
            <ac:cxnSpMk id="19" creationId="{3FC01E45-2616-4838-AA74-15B1C2EA7181}"/>
          </ac:cxnSpMkLst>
        </pc:cxnChg>
        <pc:cxnChg chg="mod">
          <ac:chgData name="bullingerm.tmt22" userId="9ce3b8b2-035f-4175-b301-998b03a50e38" providerId="ADAL" clId="{141171B5-8533-4577-ACD0-930FC57440F8}" dt="2025-04-22T14:06:45.082" v="1496" actId="208"/>
          <ac:cxnSpMkLst>
            <pc:docMk/>
            <pc:sldMk cId="3885160775" sldId="680"/>
            <ac:cxnSpMk id="21" creationId="{4B65547A-1BF8-40A9-BDF7-0D15EE120CBD}"/>
          </ac:cxnSpMkLst>
        </pc:cxnChg>
        <pc:cxnChg chg="mod">
          <ac:chgData name="bullingerm.tmt22" userId="9ce3b8b2-035f-4175-b301-998b03a50e38" providerId="ADAL" clId="{141171B5-8533-4577-ACD0-930FC57440F8}" dt="2025-04-22T14:06:45.082" v="1496" actId="208"/>
          <ac:cxnSpMkLst>
            <pc:docMk/>
            <pc:sldMk cId="3885160775" sldId="680"/>
            <ac:cxnSpMk id="26" creationId="{1277E27A-692D-4F7E-8EAB-9C3628ACD188}"/>
          </ac:cxnSpMkLst>
        </pc:cxnChg>
        <pc:cxnChg chg="mod">
          <ac:chgData name="bullingerm.tmt22" userId="9ce3b8b2-035f-4175-b301-998b03a50e38" providerId="ADAL" clId="{141171B5-8533-4577-ACD0-930FC57440F8}" dt="2025-04-22T14:06:45.082" v="1496" actId="208"/>
          <ac:cxnSpMkLst>
            <pc:docMk/>
            <pc:sldMk cId="3885160775" sldId="680"/>
            <ac:cxnSpMk id="29" creationId="{0613FD5E-8788-4500-A5C0-90D1F76B1667}"/>
          </ac:cxnSpMkLst>
        </pc:cxnChg>
      </pc:sldChg>
      <pc:sldChg chg="addSp delSp modSp add mod">
        <pc:chgData name="bullingerm.tmt22" userId="9ce3b8b2-035f-4175-b301-998b03a50e38" providerId="ADAL" clId="{141171B5-8533-4577-ACD0-930FC57440F8}" dt="2025-04-22T13:49:42.874" v="1207" actId="1076"/>
        <pc:sldMkLst>
          <pc:docMk/>
          <pc:sldMk cId="2165355636" sldId="681"/>
        </pc:sldMkLst>
        <pc:spChg chg="mod">
          <ac:chgData name="bullingerm.tmt22" userId="9ce3b8b2-035f-4175-b301-998b03a50e38" providerId="ADAL" clId="{141171B5-8533-4577-ACD0-930FC57440F8}" dt="2025-04-22T12:23:29.501" v="834" actId="20577"/>
          <ac:spMkLst>
            <pc:docMk/>
            <pc:sldMk cId="2165355636" sldId="681"/>
            <ac:spMk id="3" creationId="{ABCDAA16-6771-DCBE-1112-A25953706F31}"/>
          </ac:spMkLst>
        </pc:spChg>
        <pc:picChg chg="add mod">
          <ac:chgData name="bullingerm.tmt22" userId="9ce3b8b2-035f-4175-b301-998b03a50e38" providerId="ADAL" clId="{141171B5-8533-4577-ACD0-930FC57440F8}" dt="2025-04-22T13:49:36.097" v="1205" actId="1076"/>
          <ac:picMkLst>
            <pc:docMk/>
            <pc:sldMk cId="2165355636" sldId="681"/>
            <ac:picMk id="7" creationId="{432B8317-9756-6037-9017-009DBC60138B}"/>
          </ac:picMkLst>
        </pc:picChg>
        <pc:picChg chg="add mod">
          <ac:chgData name="bullingerm.tmt22" userId="9ce3b8b2-035f-4175-b301-998b03a50e38" providerId="ADAL" clId="{141171B5-8533-4577-ACD0-930FC57440F8}" dt="2025-04-22T13:49:42.874" v="1207" actId="1076"/>
          <ac:picMkLst>
            <pc:docMk/>
            <pc:sldMk cId="2165355636" sldId="681"/>
            <ac:picMk id="11" creationId="{2A04BDDE-657B-FAB5-71C4-E2477D600BCE}"/>
          </ac:picMkLst>
        </pc:picChg>
      </pc:sldChg>
      <pc:sldChg chg="new del">
        <pc:chgData name="bullingerm.tmt22" userId="9ce3b8b2-035f-4175-b301-998b03a50e38" providerId="ADAL" clId="{141171B5-8533-4577-ACD0-930FC57440F8}" dt="2025-04-22T12:28:48.614" v="859" actId="47"/>
        <pc:sldMkLst>
          <pc:docMk/>
          <pc:sldMk cId="3957057255" sldId="683"/>
        </pc:sldMkLst>
      </pc:sldChg>
      <pc:sldChg chg="addSp delSp modSp add mod ord">
        <pc:chgData name="bullingerm.tmt22" userId="9ce3b8b2-035f-4175-b301-998b03a50e38" providerId="ADAL" clId="{141171B5-8533-4577-ACD0-930FC57440F8}" dt="2025-04-22T12:31:32.450" v="900" actId="20577"/>
        <pc:sldMkLst>
          <pc:docMk/>
          <pc:sldMk cId="3735220174" sldId="684"/>
        </pc:sldMkLst>
        <pc:spChg chg="mod">
          <ac:chgData name="bullingerm.tmt22" userId="9ce3b8b2-035f-4175-b301-998b03a50e38" providerId="ADAL" clId="{141171B5-8533-4577-ACD0-930FC57440F8}" dt="2025-04-22T12:31:32.450" v="900" actId="20577"/>
          <ac:spMkLst>
            <pc:docMk/>
            <pc:sldMk cId="3735220174" sldId="684"/>
            <ac:spMk id="3" creationId="{35309324-4A41-DB11-D09E-A6296FD07245}"/>
          </ac:spMkLst>
        </pc:spChg>
        <pc:picChg chg="add mod">
          <ac:chgData name="bullingerm.tmt22" userId="9ce3b8b2-035f-4175-b301-998b03a50e38" providerId="ADAL" clId="{141171B5-8533-4577-ACD0-930FC57440F8}" dt="2025-04-22T12:31:27.113" v="891" actId="1076"/>
          <ac:picMkLst>
            <pc:docMk/>
            <pc:sldMk cId="3735220174" sldId="684"/>
            <ac:picMk id="1026" creationId="{6D632663-6EF3-D371-8067-965126322C71}"/>
          </ac:picMkLst>
        </pc:picChg>
      </pc:sldChg>
      <pc:sldChg chg="addSp modSp mod">
        <pc:chgData name="bullingerm.tmt22" userId="9ce3b8b2-035f-4175-b301-998b03a50e38" providerId="ADAL" clId="{141171B5-8533-4577-ACD0-930FC57440F8}" dt="2025-04-22T13:49:15.689" v="1203" actId="1076"/>
        <pc:sldMkLst>
          <pc:docMk/>
          <pc:sldMk cId="1591261179" sldId="685"/>
        </pc:sldMkLst>
        <pc:spChg chg="mod">
          <ac:chgData name="bullingerm.tmt22" userId="9ce3b8b2-035f-4175-b301-998b03a50e38" providerId="ADAL" clId="{141171B5-8533-4577-ACD0-930FC57440F8}" dt="2025-04-22T13:49:07.412" v="1202" actId="1037"/>
          <ac:spMkLst>
            <pc:docMk/>
            <pc:sldMk cId="1591261179" sldId="685"/>
            <ac:spMk id="8" creationId="{C0DEF5F5-4243-197A-A183-F4DB6D12BF1A}"/>
          </ac:spMkLst>
        </pc:spChg>
        <pc:spChg chg="mod">
          <ac:chgData name="bullingerm.tmt22" userId="9ce3b8b2-035f-4175-b301-998b03a50e38" providerId="ADAL" clId="{141171B5-8533-4577-ACD0-930FC57440F8}" dt="2025-04-22T13:49:07.412" v="1202" actId="1037"/>
          <ac:spMkLst>
            <pc:docMk/>
            <pc:sldMk cId="1591261179" sldId="685"/>
            <ac:spMk id="14" creationId="{3DDE7F7A-0757-C2D9-9C42-2090C15D61AA}"/>
          </ac:spMkLst>
        </pc:spChg>
        <pc:spChg chg="mod">
          <ac:chgData name="bullingerm.tmt22" userId="9ce3b8b2-035f-4175-b301-998b03a50e38" providerId="ADAL" clId="{141171B5-8533-4577-ACD0-930FC57440F8}" dt="2025-04-22T13:49:07.412" v="1202" actId="1037"/>
          <ac:spMkLst>
            <pc:docMk/>
            <pc:sldMk cId="1591261179" sldId="685"/>
            <ac:spMk id="15" creationId="{1DEBAC97-7944-F728-336E-54AB21F39D7B}"/>
          </ac:spMkLst>
        </pc:spChg>
        <pc:spChg chg="mod">
          <ac:chgData name="bullingerm.tmt22" userId="9ce3b8b2-035f-4175-b301-998b03a50e38" providerId="ADAL" clId="{141171B5-8533-4577-ACD0-930FC57440F8}" dt="2025-04-22T13:49:07.412" v="1202" actId="1037"/>
          <ac:spMkLst>
            <pc:docMk/>
            <pc:sldMk cId="1591261179" sldId="685"/>
            <ac:spMk id="20" creationId="{D474D01A-3B46-FA0B-BE5D-57E9A5C3EE9D}"/>
          </ac:spMkLst>
        </pc:spChg>
        <pc:spChg chg="mod">
          <ac:chgData name="bullingerm.tmt22" userId="9ce3b8b2-035f-4175-b301-998b03a50e38" providerId="ADAL" clId="{141171B5-8533-4577-ACD0-930FC57440F8}" dt="2025-04-22T13:49:07.412" v="1202" actId="1037"/>
          <ac:spMkLst>
            <pc:docMk/>
            <pc:sldMk cId="1591261179" sldId="685"/>
            <ac:spMk id="25" creationId="{F1A6E4DF-2F8B-27B7-AACA-0440BA793F24}"/>
          </ac:spMkLst>
        </pc:spChg>
        <pc:spChg chg="mod">
          <ac:chgData name="bullingerm.tmt22" userId="9ce3b8b2-035f-4175-b301-998b03a50e38" providerId="ADAL" clId="{141171B5-8533-4577-ACD0-930FC57440F8}" dt="2025-04-22T13:49:07.412" v="1202" actId="1037"/>
          <ac:spMkLst>
            <pc:docMk/>
            <pc:sldMk cId="1591261179" sldId="685"/>
            <ac:spMk id="26" creationId="{76572C01-B7AD-1700-E2FE-1B7BD6FAF750}"/>
          </ac:spMkLst>
        </pc:spChg>
        <pc:spChg chg="mod">
          <ac:chgData name="bullingerm.tmt22" userId="9ce3b8b2-035f-4175-b301-998b03a50e38" providerId="ADAL" clId="{141171B5-8533-4577-ACD0-930FC57440F8}" dt="2025-04-22T13:49:07.412" v="1202" actId="1037"/>
          <ac:spMkLst>
            <pc:docMk/>
            <pc:sldMk cId="1591261179" sldId="685"/>
            <ac:spMk id="29" creationId="{9B075126-FA54-DE43-034E-01E42AF0F8FE}"/>
          </ac:spMkLst>
        </pc:spChg>
        <pc:spChg chg="mod">
          <ac:chgData name="bullingerm.tmt22" userId="9ce3b8b2-035f-4175-b301-998b03a50e38" providerId="ADAL" clId="{141171B5-8533-4577-ACD0-930FC57440F8}" dt="2025-04-22T13:49:07.412" v="1202" actId="1037"/>
          <ac:spMkLst>
            <pc:docMk/>
            <pc:sldMk cId="1591261179" sldId="685"/>
            <ac:spMk id="32" creationId="{43227A0B-74D5-CBAC-B3F4-46186CFA9353}"/>
          </ac:spMkLst>
        </pc:spChg>
        <pc:spChg chg="mod">
          <ac:chgData name="bullingerm.tmt22" userId="9ce3b8b2-035f-4175-b301-998b03a50e38" providerId="ADAL" clId="{141171B5-8533-4577-ACD0-930FC57440F8}" dt="2025-04-22T13:49:07.412" v="1202" actId="1037"/>
          <ac:spMkLst>
            <pc:docMk/>
            <pc:sldMk cId="1591261179" sldId="685"/>
            <ac:spMk id="33" creationId="{957B4BAE-7ACC-C733-0952-1C84FFB63E37}"/>
          </ac:spMkLst>
        </pc:spChg>
        <pc:spChg chg="mod">
          <ac:chgData name="bullingerm.tmt22" userId="9ce3b8b2-035f-4175-b301-998b03a50e38" providerId="ADAL" clId="{141171B5-8533-4577-ACD0-930FC57440F8}" dt="2025-04-22T13:49:07.412" v="1202" actId="1037"/>
          <ac:spMkLst>
            <pc:docMk/>
            <pc:sldMk cId="1591261179" sldId="685"/>
            <ac:spMk id="34" creationId="{19B91385-3C0A-3E44-5412-E108C9CC604C}"/>
          </ac:spMkLst>
        </pc:spChg>
        <pc:picChg chg="add mod">
          <ac:chgData name="bullingerm.tmt22" userId="9ce3b8b2-035f-4175-b301-998b03a50e38" providerId="ADAL" clId="{141171B5-8533-4577-ACD0-930FC57440F8}" dt="2025-04-22T13:49:15.689" v="1203" actId="1076"/>
          <ac:picMkLst>
            <pc:docMk/>
            <pc:sldMk cId="1591261179" sldId="685"/>
            <ac:picMk id="12" creationId="{094049A1-4DBF-7D55-CD85-6E8AEB684FF4}"/>
          </ac:picMkLst>
        </pc:picChg>
        <pc:picChg chg="add mod">
          <ac:chgData name="bullingerm.tmt22" userId="9ce3b8b2-035f-4175-b301-998b03a50e38" providerId="ADAL" clId="{141171B5-8533-4577-ACD0-930FC57440F8}" dt="2025-04-22T12:38:53.239" v="906" actId="1076"/>
          <ac:picMkLst>
            <pc:docMk/>
            <pc:sldMk cId="1591261179" sldId="685"/>
            <ac:picMk id="18" creationId="{531AE1AD-04DC-6518-3E4A-A8224ADD736A}"/>
          </ac:picMkLst>
        </pc:picChg>
      </pc:sldChg>
      <pc:sldChg chg="modSp mod">
        <pc:chgData name="bullingerm.tmt22" userId="9ce3b8b2-035f-4175-b301-998b03a50e38" providerId="ADAL" clId="{141171B5-8533-4577-ACD0-930FC57440F8}" dt="2025-04-22T14:06:58.250" v="1499" actId="1035"/>
        <pc:sldMkLst>
          <pc:docMk/>
          <pc:sldMk cId="1266525283" sldId="686"/>
        </pc:sldMkLst>
        <pc:spChg chg="mod">
          <ac:chgData name="bullingerm.tmt22" userId="9ce3b8b2-035f-4175-b301-998b03a50e38" providerId="ADAL" clId="{141171B5-8533-4577-ACD0-930FC57440F8}" dt="2025-04-22T14:06:58.250" v="1499" actId="1035"/>
          <ac:spMkLst>
            <pc:docMk/>
            <pc:sldMk cId="1266525283" sldId="686"/>
            <ac:spMk id="4" creationId="{8E82AE8B-6FED-4296-A4A8-0F89F3781839}"/>
          </ac:spMkLst>
        </pc:spChg>
        <pc:spChg chg="mod">
          <ac:chgData name="bullingerm.tmt22" userId="9ce3b8b2-035f-4175-b301-998b03a50e38" providerId="ADAL" clId="{141171B5-8533-4577-ACD0-930FC57440F8}" dt="2025-04-22T14:06:58.250" v="1499" actId="1035"/>
          <ac:spMkLst>
            <pc:docMk/>
            <pc:sldMk cId="1266525283" sldId="686"/>
            <ac:spMk id="7" creationId="{8F854E29-798F-4687-B72D-B0C948D38373}"/>
          </ac:spMkLst>
        </pc:spChg>
        <pc:graphicFrameChg chg="mod">
          <ac:chgData name="bullingerm.tmt22" userId="9ce3b8b2-035f-4175-b301-998b03a50e38" providerId="ADAL" clId="{141171B5-8533-4577-ACD0-930FC57440F8}" dt="2025-04-22T14:06:58.250" v="1499" actId="1035"/>
          <ac:graphicFrameMkLst>
            <pc:docMk/>
            <pc:sldMk cId="1266525283" sldId="686"/>
            <ac:graphicFrameMk id="10" creationId="{683BB71C-3E4A-4262-BBC6-66E7E7CD1E8E}"/>
          </ac:graphicFrameMkLst>
        </pc:graphicFrameChg>
      </pc:sldChg>
      <pc:sldChg chg="addSp delSp modSp mod">
        <pc:chgData name="bullingerm.tmt22" userId="9ce3b8b2-035f-4175-b301-998b03a50e38" providerId="ADAL" clId="{141171B5-8533-4577-ACD0-930FC57440F8}" dt="2025-04-22T13:48:49.892" v="1150" actId="113"/>
        <pc:sldMkLst>
          <pc:docMk/>
          <pc:sldMk cId="3158016746" sldId="687"/>
        </pc:sldMkLst>
        <pc:spChg chg="mod">
          <ac:chgData name="bullingerm.tmt22" userId="9ce3b8b2-035f-4175-b301-998b03a50e38" providerId="ADAL" clId="{141171B5-8533-4577-ACD0-930FC57440F8}" dt="2025-04-22T13:48:49.892" v="1150" actId="113"/>
          <ac:spMkLst>
            <pc:docMk/>
            <pc:sldMk cId="3158016746" sldId="687"/>
            <ac:spMk id="3" creationId="{73AA9B3C-0469-D37B-0410-C38D3A0384D8}"/>
          </ac:spMkLst>
        </pc:spChg>
        <pc:spChg chg="add mod">
          <ac:chgData name="bullingerm.tmt22" userId="9ce3b8b2-035f-4175-b301-998b03a50e38" providerId="ADAL" clId="{141171B5-8533-4577-ACD0-930FC57440F8}" dt="2025-04-22T13:48:45.130" v="1148" actId="478"/>
          <ac:spMkLst>
            <pc:docMk/>
            <pc:sldMk cId="3158016746" sldId="687"/>
            <ac:spMk id="12" creationId="{B79D05C2-6755-95DB-11F3-B1BB0A26EF20}"/>
          </ac:spMkLst>
        </pc:spChg>
      </pc:sldChg>
    </pc:docChg>
  </pc:docChgLst>
  <pc:docChgLst>
    <pc:chgData name="seiboldf.tmb22" userId="S::seiboldf.tmb22@student.dhbw-heidenheim.de::df3edf2f-3342-4456-80d3-fdc875e3af8c" providerId="AD" clId="Web-{23B2E8C6-A73A-CD4A-6B53-33CFD13FD571}"/>
    <pc:docChg chg="sldOrd">
      <pc:chgData name="seiboldf.tmb22" userId="S::seiboldf.tmb22@student.dhbw-heidenheim.de::df3edf2f-3342-4456-80d3-fdc875e3af8c" providerId="AD" clId="Web-{23B2E8C6-A73A-CD4A-6B53-33CFD13FD571}" dt="2025-04-01T10:23:23.594" v="0"/>
      <pc:docMkLst>
        <pc:docMk/>
      </pc:docMkLst>
      <pc:sldChg chg="ord">
        <pc:chgData name="seiboldf.tmb22" userId="S::seiboldf.tmb22@student.dhbw-heidenheim.de::df3edf2f-3342-4456-80d3-fdc875e3af8c" providerId="AD" clId="Web-{23B2E8C6-A73A-CD4A-6B53-33CFD13FD571}" dt="2025-04-01T10:23:23.594" v="0"/>
        <pc:sldMkLst>
          <pc:docMk/>
          <pc:sldMk cId="1339647628" sldId="586"/>
        </pc:sldMkLst>
      </pc:sldChg>
    </pc:docChg>
  </pc:docChgLst>
  <pc:docChgLst>
    <pc:chgData name="haeberlea.tmb22" userId="S::haeberlea.tmb22@student.dhbw-heidenheim.de::e23f6701-6707-4a4b-a757-e56ad2eaf1e8" providerId="AD" clId="Web-{4BE91163-F978-1A28-8797-C621781AFBF0}"/>
    <pc:docChg chg="addSld delSld modSld sldOrd modSection">
      <pc:chgData name="haeberlea.tmb22" userId="S::haeberlea.tmb22@student.dhbw-heidenheim.de::e23f6701-6707-4a4b-a757-e56ad2eaf1e8" providerId="AD" clId="Web-{4BE91163-F978-1A28-8797-C621781AFBF0}" dt="2025-04-01T11:47:23.052" v="240"/>
      <pc:docMkLst>
        <pc:docMk/>
      </pc:docMkLst>
      <pc:sldChg chg="modSp">
        <pc:chgData name="haeberlea.tmb22" userId="S::haeberlea.tmb22@student.dhbw-heidenheim.de::e23f6701-6707-4a4b-a757-e56ad2eaf1e8" providerId="AD" clId="Web-{4BE91163-F978-1A28-8797-C621781AFBF0}" dt="2025-04-01T11:46:40.926" v="236" actId="20577"/>
        <pc:sldMkLst>
          <pc:docMk/>
          <pc:sldMk cId="1339647628" sldId="586"/>
        </pc:sldMkLst>
      </pc:sldChg>
      <pc:sldChg chg="modSp">
        <pc:chgData name="haeberlea.tmb22" userId="S::haeberlea.tmb22@student.dhbw-heidenheim.de::e23f6701-6707-4a4b-a757-e56ad2eaf1e8" providerId="AD" clId="Web-{4BE91163-F978-1A28-8797-C621781AFBF0}" dt="2025-04-01T11:38:07.032" v="75" actId="20577"/>
        <pc:sldMkLst>
          <pc:docMk/>
          <pc:sldMk cId="1986987989" sldId="624"/>
        </pc:sldMkLst>
      </pc:sldChg>
      <pc:sldChg chg="modSp ord">
        <pc:chgData name="haeberlea.tmb22" userId="S::haeberlea.tmb22@student.dhbw-heidenheim.de::e23f6701-6707-4a4b-a757-e56ad2eaf1e8" providerId="AD" clId="Web-{4BE91163-F978-1A28-8797-C621781AFBF0}" dt="2025-04-01T11:37:04.951" v="56"/>
        <pc:sldMkLst>
          <pc:docMk/>
          <pc:sldMk cId="2756117336" sldId="630"/>
        </pc:sldMkLst>
      </pc:sldChg>
      <pc:sldChg chg="modSp ord">
        <pc:chgData name="haeberlea.tmb22" userId="S::haeberlea.tmb22@student.dhbw-heidenheim.de::e23f6701-6707-4a4b-a757-e56ad2eaf1e8" providerId="AD" clId="Web-{4BE91163-F978-1A28-8797-C621781AFBF0}" dt="2025-04-01T11:47:23.052" v="240"/>
        <pc:sldMkLst>
          <pc:docMk/>
          <pc:sldMk cId="52686789" sldId="631"/>
        </pc:sldMkLst>
        <pc:spChg chg="mod">
          <ac:chgData name="haeberlea.tmb22" userId="S::haeberlea.tmb22@student.dhbw-heidenheim.de::e23f6701-6707-4a4b-a757-e56ad2eaf1e8" providerId="AD" clId="Web-{4BE91163-F978-1A28-8797-C621781AFBF0}" dt="2025-04-01T11:45:56.158" v="228" actId="20577"/>
          <ac:spMkLst>
            <pc:docMk/>
            <pc:sldMk cId="52686789" sldId="631"/>
            <ac:spMk id="42" creationId="{4358A22D-582F-467A-AD1C-A4E2A578FD4C}"/>
          </ac:spMkLst>
        </pc:spChg>
      </pc:sldChg>
      <pc:sldChg chg="modSp add replId">
        <pc:chgData name="haeberlea.tmb22" userId="S::haeberlea.tmb22@student.dhbw-heidenheim.de::e23f6701-6707-4a4b-a757-e56ad2eaf1e8" providerId="AD" clId="Web-{4BE91163-F978-1A28-8797-C621781AFBF0}" dt="2025-04-01T11:46:26.785" v="232" actId="1076"/>
        <pc:sldMkLst>
          <pc:docMk/>
          <pc:sldMk cId="3087557768" sldId="632"/>
        </pc:sldMkLst>
      </pc:sldChg>
    </pc:docChg>
  </pc:docChgLst>
  <pc:docChgLst>
    <pc:chgData name="Franz Seibold" userId="df3edf2f-3342-4456-80d3-fdc875e3af8c" providerId="ADAL" clId="{328B2058-4107-4D66-BED0-708CC2676BDF}"/>
    <pc:docChg chg="undo custSel addSld modSld">
      <pc:chgData name="Franz Seibold" userId="df3edf2f-3342-4456-80d3-fdc875e3af8c" providerId="ADAL" clId="{328B2058-4107-4D66-BED0-708CC2676BDF}" dt="2025-04-22T13:42:14.593" v="847" actId="20577"/>
      <pc:docMkLst>
        <pc:docMk/>
      </pc:docMkLst>
      <pc:sldChg chg="modSp">
        <pc:chgData name="Franz Seibold" userId="df3edf2f-3342-4456-80d3-fdc875e3af8c" providerId="ADAL" clId="{328B2058-4107-4D66-BED0-708CC2676BDF}" dt="2025-04-22T11:18:37.714" v="32" actId="11"/>
        <pc:sldMkLst>
          <pc:docMk/>
          <pc:sldMk cId="3388882345" sldId="652"/>
        </pc:sldMkLst>
        <pc:spChg chg="mod">
          <ac:chgData name="Franz Seibold" userId="df3edf2f-3342-4456-80d3-fdc875e3af8c" providerId="ADAL" clId="{328B2058-4107-4D66-BED0-708CC2676BDF}" dt="2025-04-22T11:18:37.714" v="32" actId="11"/>
          <ac:spMkLst>
            <pc:docMk/>
            <pc:sldMk cId="3388882345" sldId="652"/>
            <ac:spMk id="4" creationId="{801F26D2-C9E0-6F6D-D67C-1792E4552236}"/>
          </ac:spMkLst>
        </pc:spChg>
      </pc:sldChg>
      <pc:sldChg chg="addSp delSp modSp">
        <pc:chgData name="Franz Seibold" userId="df3edf2f-3342-4456-80d3-fdc875e3af8c" providerId="ADAL" clId="{328B2058-4107-4D66-BED0-708CC2676BDF}" dt="2025-04-22T13:13:56.965" v="517" actId="478"/>
        <pc:sldMkLst>
          <pc:docMk/>
          <pc:sldMk cId="46571281" sldId="654"/>
        </pc:sldMkLst>
        <pc:spChg chg="mod">
          <ac:chgData name="Franz Seibold" userId="df3edf2f-3342-4456-80d3-fdc875e3af8c" providerId="ADAL" clId="{328B2058-4107-4D66-BED0-708CC2676BDF}" dt="2025-04-22T11:16:22.691" v="26" actId="1076"/>
          <ac:spMkLst>
            <pc:docMk/>
            <pc:sldMk cId="46571281" sldId="654"/>
            <ac:spMk id="35" creationId="{8A16B258-906C-4A41-B290-7ED2F42F38D7}"/>
          </ac:spMkLst>
        </pc:spChg>
        <pc:spChg chg="mod">
          <ac:chgData name="Franz Seibold" userId="df3edf2f-3342-4456-80d3-fdc875e3af8c" providerId="ADAL" clId="{328B2058-4107-4D66-BED0-708CC2676BDF}" dt="2025-04-22T11:15:58.766" v="21" actId="1076"/>
          <ac:spMkLst>
            <pc:docMk/>
            <pc:sldMk cId="46571281" sldId="654"/>
            <ac:spMk id="36" creationId="{1615C6CA-DD37-4521-97A3-7FAA7154257A}"/>
          </ac:spMkLst>
        </pc:spChg>
        <pc:spChg chg="mod">
          <ac:chgData name="Franz Seibold" userId="df3edf2f-3342-4456-80d3-fdc875e3af8c" providerId="ADAL" clId="{328B2058-4107-4D66-BED0-708CC2676BDF}" dt="2025-04-22T11:16:26.514" v="27" actId="1076"/>
          <ac:spMkLst>
            <pc:docMk/>
            <pc:sldMk cId="46571281" sldId="654"/>
            <ac:spMk id="37" creationId="{06F5071F-B002-4E0E-8519-2161E76CF4E9}"/>
          </ac:spMkLst>
        </pc:spChg>
        <pc:spChg chg="mod">
          <ac:chgData name="Franz Seibold" userId="df3edf2f-3342-4456-80d3-fdc875e3af8c" providerId="ADAL" clId="{328B2058-4107-4D66-BED0-708CC2676BDF}" dt="2025-04-22T11:16:19.207" v="25" actId="1076"/>
          <ac:spMkLst>
            <pc:docMk/>
            <pc:sldMk cId="46571281" sldId="654"/>
            <ac:spMk id="39" creationId="{81293568-993D-4379-A052-FF88EF4B3588}"/>
          </ac:spMkLst>
        </pc:spChg>
        <pc:cxnChg chg="mod">
          <ac:chgData name="Franz Seibold" userId="df3edf2f-3342-4456-80d3-fdc875e3af8c" providerId="ADAL" clId="{328B2058-4107-4D66-BED0-708CC2676BDF}" dt="2025-04-22T11:16:22.691" v="26" actId="1076"/>
          <ac:cxnSpMkLst>
            <pc:docMk/>
            <pc:sldMk cId="46571281" sldId="654"/>
            <ac:cxnSpMk id="48" creationId="{14227907-9E88-4EEB-8CA0-23DC5BBB4AA9}"/>
          </ac:cxnSpMkLst>
        </pc:cxnChg>
        <pc:cxnChg chg="mod">
          <ac:chgData name="Franz Seibold" userId="df3edf2f-3342-4456-80d3-fdc875e3af8c" providerId="ADAL" clId="{328B2058-4107-4D66-BED0-708CC2676BDF}" dt="2025-04-22T11:16:26.514" v="27" actId="1076"/>
          <ac:cxnSpMkLst>
            <pc:docMk/>
            <pc:sldMk cId="46571281" sldId="654"/>
            <ac:cxnSpMk id="49" creationId="{C1DC32DF-9769-4BD2-A635-3C77FB1D3185}"/>
          </ac:cxnSpMkLst>
        </pc:cxnChg>
        <pc:cxnChg chg="mod">
          <ac:chgData name="Franz Seibold" userId="df3edf2f-3342-4456-80d3-fdc875e3af8c" providerId="ADAL" clId="{328B2058-4107-4D66-BED0-708CC2676BDF}" dt="2025-04-22T11:16:19.207" v="25" actId="1076"/>
          <ac:cxnSpMkLst>
            <pc:docMk/>
            <pc:sldMk cId="46571281" sldId="654"/>
            <ac:cxnSpMk id="50" creationId="{A77A1DD0-6BB7-4A41-9456-1F112E49F5EC}"/>
          </ac:cxnSpMkLst>
        </pc:cxnChg>
        <pc:cxnChg chg="mod">
          <ac:chgData name="Franz Seibold" userId="df3edf2f-3342-4456-80d3-fdc875e3af8c" providerId="ADAL" clId="{328B2058-4107-4D66-BED0-708CC2676BDF}" dt="2025-04-22T11:15:58.766" v="21" actId="1076"/>
          <ac:cxnSpMkLst>
            <pc:docMk/>
            <pc:sldMk cId="46571281" sldId="654"/>
            <ac:cxnSpMk id="51" creationId="{FD5F7960-8839-40CE-AB0A-BE45849E8AA7}"/>
          </ac:cxnSpMkLst>
        </pc:cxnChg>
      </pc:sldChg>
      <pc:sldChg chg="addSp delSp modSp modAnim">
        <pc:chgData name="Franz Seibold" userId="df3edf2f-3342-4456-80d3-fdc875e3af8c" providerId="ADAL" clId="{328B2058-4107-4D66-BED0-708CC2676BDF}" dt="2025-04-22T13:10:36.919" v="515"/>
        <pc:sldMkLst>
          <pc:docMk/>
          <pc:sldMk cId="1194765832" sldId="660"/>
        </pc:sldMkLst>
        <pc:spChg chg="add mod">
          <ac:chgData name="Franz Seibold" userId="df3edf2f-3342-4456-80d3-fdc875e3af8c" providerId="ADAL" clId="{328B2058-4107-4D66-BED0-708CC2676BDF}" dt="2025-04-22T13:03:24.911" v="352" actId="1076"/>
          <ac:spMkLst>
            <pc:docMk/>
            <pc:sldMk cId="1194765832" sldId="660"/>
            <ac:spMk id="21" creationId="{EE140B32-3A93-4659-A919-42A41733EDB5}"/>
          </ac:spMkLst>
        </pc:spChg>
        <pc:spChg chg="add mod">
          <ac:chgData name="Franz Seibold" userId="df3edf2f-3342-4456-80d3-fdc875e3af8c" providerId="ADAL" clId="{328B2058-4107-4D66-BED0-708CC2676BDF}" dt="2025-04-22T13:03:47.654" v="369" actId="1076"/>
          <ac:spMkLst>
            <pc:docMk/>
            <pc:sldMk cId="1194765832" sldId="660"/>
            <ac:spMk id="31" creationId="{D6844B8F-1318-4C0F-923C-C09346E4E589}"/>
          </ac:spMkLst>
        </pc:spChg>
        <pc:spChg chg="add mod">
          <ac:chgData name="Franz Seibold" userId="df3edf2f-3342-4456-80d3-fdc875e3af8c" providerId="ADAL" clId="{328B2058-4107-4D66-BED0-708CC2676BDF}" dt="2025-04-22T13:03:41.356" v="368" actId="20577"/>
          <ac:spMkLst>
            <pc:docMk/>
            <pc:sldMk cId="1194765832" sldId="660"/>
            <ac:spMk id="36" creationId="{5357408D-A15F-4F11-A011-8A86FF4455A8}"/>
          </ac:spMkLst>
        </pc:spChg>
        <pc:spChg chg="add mod">
          <ac:chgData name="Franz Seibold" userId="df3edf2f-3342-4456-80d3-fdc875e3af8c" providerId="ADAL" clId="{328B2058-4107-4D66-BED0-708CC2676BDF}" dt="2025-04-22T13:04:15.051" v="382" actId="1076"/>
          <ac:spMkLst>
            <pc:docMk/>
            <pc:sldMk cId="1194765832" sldId="660"/>
            <ac:spMk id="45" creationId="{3FA2EF11-CC34-42EB-9AC3-AD20EA0D6ECB}"/>
          </ac:spMkLst>
        </pc:spChg>
        <pc:spChg chg="add mod">
          <ac:chgData name="Franz Seibold" userId="df3edf2f-3342-4456-80d3-fdc875e3af8c" providerId="ADAL" clId="{328B2058-4107-4D66-BED0-708CC2676BDF}" dt="2025-04-22T13:05:10.259" v="418" actId="1076"/>
          <ac:spMkLst>
            <pc:docMk/>
            <pc:sldMk cId="1194765832" sldId="660"/>
            <ac:spMk id="50" creationId="{0C463C97-7621-494C-9844-ECDAFA159BC7}"/>
          </ac:spMkLst>
        </pc:spChg>
        <pc:spChg chg="add mod">
          <ac:chgData name="Franz Seibold" userId="df3edf2f-3342-4456-80d3-fdc875e3af8c" providerId="ADAL" clId="{328B2058-4107-4D66-BED0-708CC2676BDF}" dt="2025-04-22T13:05:39.808" v="438" actId="14100"/>
          <ac:spMkLst>
            <pc:docMk/>
            <pc:sldMk cId="1194765832" sldId="660"/>
            <ac:spMk id="55" creationId="{4EA91DAD-14C3-4811-9C2A-2DED5BB73FCA}"/>
          </ac:spMkLst>
        </pc:spChg>
        <pc:spChg chg="add mod">
          <ac:chgData name="Franz Seibold" userId="df3edf2f-3342-4456-80d3-fdc875e3af8c" providerId="ADAL" clId="{328B2058-4107-4D66-BED0-708CC2676BDF}" dt="2025-04-22T13:06:48.569" v="471"/>
          <ac:spMkLst>
            <pc:docMk/>
            <pc:sldMk cId="1194765832" sldId="660"/>
            <ac:spMk id="59" creationId="{1A87F983-D103-4D14-8089-CFA1788A8974}"/>
          </ac:spMkLst>
        </pc:spChg>
        <pc:spChg chg="add mod">
          <ac:chgData name="Franz Seibold" userId="df3edf2f-3342-4456-80d3-fdc875e3af8c" providerId="ADAL" clId="{328B2058-4107-4D66-BED0-708CC2676BDF}" dt="2025-04-22T13:07:42.453" v="501" actId="1076"/>
          <ac:spMkLst>
            <pc:docMk/>
            <pc:sldMk cId="1194765832" sldId="660"/>
            <ac:spMk id="63" creationId="{9E0B08C6-8F15-4287-9CF3-C3850575A1D2}"/>
          </ac:spMkLst>
        </pc:spChg>
        <pc:picChg chg="add mod ord">
          <ac:chgData name="Franz Seibold" userId="df3edf2f-3342-4456-80d3-fdc875e3af8c" providerId="ADAL" clId="{328B2058-4107-4D66-BED0-708CC2676BDF}" dt="2025-04-22T13:01:04.608" v="288" actId="1076"/>
          <ac:picMkLst>
            <pc:docMk/>
            <pc:sldMk cId="1194765832" sldId="660"/>
            <ac:picMk id="28" creationId="{BA4ACD1B-FEBB-4055-A876-B64A59450FC4}"/>
          </ac:picMkLst>
        </pc:picChg>
        <pc:cxnChg chg="add mod">
          <ac:chgData name="Franz Seibold" userId="df3edf2f-3342-4456-80d3-fdc875e3af8c" providerId="ADAL" clId="{328B2058-4107-4D66-BED0-708CC2676BDF}" dt="2025-04-22T13:03:28.802" v="353" actId="14100"/>
          <ac:cxnSpMkLst>
            <pc:docMk/>
            <pc:sldMk cId="1194765832" sldId="660"/>
            <ac:cxnSpMk id="10" creationId="{74A6FA67-CC1E-481B-B55A-6719832A9DE1}"/>
          </ac:cxnSpMkLst>
        </pc:cxnChg>
        <pc:cxnChg chg="add mod">
          <ac:chgData name="Franz Seibold" userId="df3edf2f-3342-4456-80d3-fdc875e3af8c" providerId="ADAL" clId="{328B2058-4107-4D66-BED0-708CC2676BDF}" dt="2025-04-22T13:03:24.911" v="352" actId="1076"/>
          <ac:cxnSpMkLst>
            <pc:docMk/>
            <pc:sldMk cId="1194765832" sldId="660"/>
            <ac:cxnSpMk id="12" creationId="{4A7FCCD5-DE17-419F-90A3-6438D7817FB3}"/>
          </ac:cxnSpMkLst>
        </pc:cxnChg>
        <pc:cxnChg chg="add mod">
          <ac:chgData name="Franz Seibold" userId="df3edf2f-3342-4456-80d3-fdc875e3af8c" providerId="ADAL" clId="{328B2058-4107-4D66-BED0-708CC2676BDF}" dt="2025-04-22T13:03:49.560" v="370" actId="14100"/>
          <ac:cxnSpMkLst>
            <pc:docMk/>
            <pc:sldMk cId="1194765832" sldId="660"/>
            <ac:cxnSpMk id="32" creationId="{62EF21E8-A551-41A6-BD84-F01E464819D2}"/>
          </ac:cxnSpMkLst>
        </pc:cxnChg>
        <pc:cxnChg chg="add mod">
          <ac:chgData name="Franz Seibold" userId="df3edf2f-3342-4456-80d3-fdc875e3af8c" providerId="ADAL" clId="{328B2058-4107-4D66-BED0-708CC2676BDF}" dt="2025-04-22T13:03:40.111" v="361" actId="20577"/>
          <ac:cxnSpMkLst>
            <pc:docMk/>
            <pc:sldMk cId="1194765832" sldId="660"/>
            <ac:cxnSpMk id="37" creationId="{080DC246-5E16-4ED8-91C3-69E42F8D06EB}"/>
          </ac:cxnSpMkLst>
        </pc:cxnChg>
        <pc:cxnChg chg="add mod">
          <ac:chgData name="Franz Seibold" userId="df3edf2f-3342-4456-80d3-fdc875e3af8c" providerId="ADAL" clId="{328B2058-4107-4D66-BED0-708CC2676BDF}" dt="2025-04-22T13:03:40.111" v="361" actId="20577"/>
          <ac:cxnSpMkLst>
            <pc:docMk/>
            <pc:sldMk cId="1194765832" sldId="660"/>
            <ac:cxnSpMk id="40" creationId="{BA5D21A7-18B2-4349-B595-FBB35A95312D}"/>
          </ac:cxnSpMkLst>
        </pc:cxnChg>
        <pc:cxnChg chg="add mod">
          <ac:chgData name="Franz Seibold" userId="df3edf2f-3342-4456-80d3-fdc875e3af8c" providerId="ADAL" clId="{328B2058-4107-4D66-BED0-708CC2676BDF}" dt="2025-04-22T13:04:18.276" v="383" actId="14100"/>
          <ac:cxnSpMkLst>
            <pc:docMk/>
            <pc:sldMk cId="1194765832" sldId="660"/>
            <ac:cxnSpMk id="46" creationId="{0B029505-4BE5-4CE4-A406-72D082BBBB12}"/>
          </ac:cxnSpMkLst>
        </pc:cxnChg>
        <pc:cxnChg chg="add mod">
          <ac:chgData name="Franz Seibold" userId="df3edf2f-3342-4456-80d3-fdc875e3af8c" providerId="ADAL" clId="{328B2058-4107-4D66-BED0-708CC2676BDF}" dt="2025-04-22T13:05:26.317" v="422" actId="14100"/>
          <ac:cxnSpMkLst>
            <pc:docMk/>
            <pc:sldMk cId="1194765832" sldId="660"/>
            <ac:cxnSpMk id="51" creationId="{ECEC5FD7-01AD-4A1B-BCA7-9E19FC5ABB92}"/>
          </ac:cxnSpMkLst>
        </pc:cxnChg>
        <pc:cxnChg chg="add mod">
          <ac:chgData name="Franz Seibold" userId="df3edf2f-3342-4456-80d3-fdc875e3af8c" providerId="ADAL" clId="{328B2058-4107-4D66-BED0-708CC2676BDF}" dt="2025-04-22T13:05:46.862" v="441" actId="14100"/>
          <ac:cxnSpMkLst>
            <pc:docMk/>
            <pc:sldMk cId="1194765832" sldId="660"/>
            <ac:cxnSpMk id="56" creationId="{AB13724C-548F-40BC-A075-5D0FA8C7FD09}"/>
          </ac:cxnSpMkLst>
        </pc:cxnChg>
        <pc:cxnChg chg="add mod">
          <ac:chgData name="Franz Seibold" userId="df3edf2f-3342-4456-80d3-fdc875e3af8c" providerId="ADAL" clId="{328B2058-4107-4D66-BED0-708CC2676BDF}" dt="2025-04-22T13:06:38.227" v="469" actId="14100"/>
          <ac:cxnSpMkLst>
            <pc:docMk/>
            <pc:sldMk cId="1194765832" sldId="660"/>
            <ac:cxnSpMk id="60" creationId="{51404012-42EE-4737-AE0F-2283B248F9DE}"/>
          </ac:cxnSpMkLst>
        </pc:cxnChg>
        <pc:cxnChg chg="add mod">
          <ac:chgData name="Franz Seibold" userId="df3edf2f-3342-4456-80d3-fdc875e3af8c" providerId="ADAL" clId="{328B2058-4107-4D66-BED0-708CC2676BDF}" dt="2025-04-22T13:07:53.709" v="505" actId="14100"/>
          <ac:cxnSpMkLst>
            <pc:docMk/>
            <pc:sldMk cId="1194765832" sldId="660"/>
            <ac:cxnSpMk id="64" creationId="{6354CBA1-2822-47BF-95DE-D02ED4DE1164}"/>
          </ac:cxnSpMkLst>
        </pc:cxnChg>
        <pc:cxnChg chg="add mod">
          <ac:chgData name="Franz Seibold" userId="df3edf2f-3342-4456-80d3-fdc875e3af8c" providerId="ADAL" clId="{328B2058-4107-4D66-BED0-708CC2676BDF}" dt="2025-04-22T13:08:01.935" v="508" actId="14100"/>
          <ac:cxnSpMkLst>
            <pc:docMk/>
            <pc:sldMk cId="1194765832" sldId="660"/>
            <ac:cxnSpMk id="68" creationId="{D1D447E0-88B9-49E4-9DE9-7C85FBBCC66C}"/>
          </ac:cxnSpMkLst>
        </pc:cxnChg>
      </pc:sldChg>
      <pc:sldChg chg="modSp">
        <pc:chgData name="Franz Seibold" userId="df3edf2f-3342-4456-80d3-fdc875e3af8c" providerId="ADAL" clId="{328B2058-4107-4D66-BED0-708CC2676BDF}" dt="2025-04-22T13:42:14.593" v="847" actId="20577"/>
        <pc:sldMkLst>
          <pc:docMk/>
          <pc:sldMk cId="3141788730" sldId="665"/>
        </pc:sldMkLst>
        <pc:spChg chg="mod">
          <ac:chgData name="Franz Seibold" userId="df3edf2f-3342-4456-80d3-fdc875e3af8c" providerId="ADAL" clId="{328B2058-4107-4D66-BED0-708CC2676BDF}" dt="2025-04-22T13:42:14.593" v="847" actId="20577"/>
          <ac:spMkLst>
            <pc:docMk/>
            <pc:sldMk cId="3141788730" sldId="665"/>
            <ac:spMk id="7" creationId="{AFCE89D9-849E-F028-7BE9-A9187E0A5535}"/>
          </ac:spMkLst>
        </pc:spChg>
      </pc:sldChg>
      <pc:sldChg chg="addSp delSp">
        <pc:chgData name="Franz Seibold" userId="df3edf2f-3342-4456-80d3-fdc875e3af8c" providerId="ADAL" clId="{328B2058-4107-4D66-BED0-708CC2676BDF}" dt="2025-04-22T12:52:03.841" v="198" actId="478"/>
        <pc:sldMkLst>
          <pc:docMk/>
          <pc:sldMk cId="1591261179" sldId="685"/>
        </pc:sldMkLst>
      </pc:sldChg>
      <pc:sldChg chg="addSp delSp modSp add delAnim modAnim">
        <pc:chgData name="Franz Seibold" userId="df3edf2f-3342-4456-80d3-fdc875e3af8c" providerId="ADAL" clId="{328B2058-4107-4D66-BED0-708CC2676BDF}" dt="2025-04-22T13:41:35.387" v="803" actId="478"/>
        <pc:sldMkLst>
          <pc:docMk/>
          <pc:sldMk cId="3158016746" sldId="687"/>
        </pc:sldMkLst>
        <pc:spChg chg="add mod">
          <ac:chgData name="Franz Seibold" userId="df3edf2f-3342-4456-80d3-fdc875e3af8c" providerId="ADAL" clId="{328B2058-4107-4D66-BED0-708CC2676BDF}" dt="2025-04-22T13:28:06.171" v="679" actId="164"/>
          <ac:spMkLst>
            <pc:docMk/>
            <pc:sldMk cId="3158016746" sldId="687"/>
            <ac:spMk id="8" creationId="{284BDEE8-E6F4-4F07-B2A5-B8552D862B38}"/>
          </ac:spMkLst>
        </pc:spChg>
        <pc:spChg chg="add mod">
          <ac:chgData name="Franz Seibold" userId="df3edf2f-3342-4456-80d3-fdc875e3af8c" providerId="ADAL" clId="{328B2058-4107-4D66-BED0-708CC2676BDF}" dt="2025-04-22T13:32:20.542" v="797" actId="1076"/>
          <ac:spMkLst>
            <pc:docMk/>
            <pc:sldMk cId="3158016746" sldId="687"/>
            <ac:spMk id="9" creationId="{D714EC29-4C7F-4B97-80B7-F630C1FB192D}"/>
          </ac:spMkLst>
        </pc:spChg>
        <pc:spChg chg="add mod">
          <ac:chgData name="Franz Seibold" userId="df3edf2f-3342-4456-80d3-fdc875e3af8c" providerId="ADAL" clId="{328B2058-4107-4D66-BED0-708CC2676BDF}" dt="2025-04-22T13:28:06.171" v="679" actId="164"/>
          <ac:spMkLst>
            <pc:docMk/>
            <pc:sldMk cId="3158016746" sldId="687"/>
            <ac:spMk id="11" creationId="{C570BED0-CF7E-49A5-A034-A7DF69694931}"/>
          </ac:spMkLst>
        </pc:spChg>
        <pc:spChg chg="add mod">
          <ac:chgData name="Franz Seibold" userId="df3edf2f-3342-4456-80d3-fdc875e3af8c" providerId="ADAL" clId="{328B2058-4107-4D66-BED0-708CC2676BDF}" dt="2025-04-22T13:28:06.171" v="679" actId="164"/>
          <ac:spMkLst>
            <pc:docMk/>
            <pc:sldMk cId="3158016746" sldId="687"/>
            <ac:spMk id="13" creationId="{3E3017AB-B093-4094-A1A6-FD732A2C1230}"/>
          </ac:spMkLst>
        </pc:spChg>
        <pc:spChg chg="add mod">
          <ac:chgData name="Franz Seibold" userId="df3edf2f-3342-4456-80d3-fdc875e3af8c" providerId="ADAL" clId="{328B2058-4107-4D66-BED0-708CC2676BDF}" dt="2025-04-22T13:28:06.171" v="679" actId="164"/>
          <ac:spMkLst>
            <pc:docMk/>
            <pc:sldMk cId="3158016746" sldId="687"/>
            <ac:spMk id="17" creationId="{F05FC774-BE5A-453F-BB48-81DA15B41F90}"/>
          </ac:spMkLst>
        </pc:spChg>
        <pc:spChg chg="add mod">
          <ac:chgData name="Franz Seibold" userId="df3edf2f-3342-4456-80d3-fdc875e3af8c" providerId="ADAL" clId="{328B2058-4107-4D66-BED0-708CC2676BDF}" dt="2025-04-22T13:33:05.643" v="801" actId="1076"/>
          <ac:spMkLst>
            <pc:docMk/>
            <pc:sldMk cId="3158016746" sldId="687"/>
            <ac:spMk id="19" creationId="{380C3E2D-A464-473E-B9E7-413F9CA9F16F}"/>
          </ac:spMkLst>
        </pc:spChg>
        <pc:spChg chg="add mod">
          <ac:chgData name="Franz Seibold" userId="df3edf2f-3342-4456-80d3-fdc875e3af8c" providerId="ADAL" clId="{328B2058-4107-4D66-BED0-708CC2676BDF}" dt="2025-04-22T13:28:06.171" v="679" actId="164"/>
          <ac:spMkLst>
            <pc:docMk/>
            <pc:sldMk cId="3158016746" sldId="687"/>
            <ac:spMk id="35" creationId="{8D589A6A-B200-4CF0-B879-B21249805E12}"/>
          </ac:spMkLst>
        </pc:spChg>
        <pc:spChg chg="add mod">
          <ac:chgData name="Franz Seibold" userId="df3edf2f-3342-4456-80d3-fdc875e3af8c" providerId="ADAL" clId="{328B2058-4107-4D66-BED0-708CC2676BDF}" dt="2025-04-22T13:28:06.171" v="679" actId="164"/>
          <ac:spMkLst>
            <pc:docMk/>
            <pc:sldMk cId="3158016746" sldId="687"/>
            <ac:spMk id="38" creationId="{830990FB-A2CD-4C49-A63B-7DF8B2D55A3A}"/>
          </ac:spMkLst>
        </pc:spChg>
        <pc:spChg chg="add mod">
          <ac:chgData name="Franz Seibold" userId="df3edf2f-3342-4456-80d3-fdc875e3af8c" providerId="ADAL" clId="{328B2058-4107-4D66-BED0-708CC2676BDF}" dt="2025-04-22T13:33:05.643" v="801" actId="1076"/>
          <ac:spMkLst>
            <pc:docMk/>
            <pc:sldMk cId="3158016746" sldId="687"/>
            <ac:spMk id="52" creationId="{9CDE50F7-4ADC-454F-92BA-4D300834583C}"/>
          </ac:spMkLst>
        </pc:spChg>
        <pc:spChg chg="add mod">
          <ac:chgData name="Franz Seibold" userId="df3edf2f-3342-4456-80d3-fdc875e3af8c" providerId="ADAL" clId="{328B2058-4107-4D66-BED0-708CC2676BDF}" dt="2025-04-22T13:33:05.643" v="801" actId="1076"/>
          <ac:spMkLst>
            <pc:docMk/>
            <pc:sldMk cId="3158016746" sldId="687"/>
            <ac:spMk id="57" creationId="{DC70B4C0-A48D-49C0-87D2-02A786D599E9}"/>
          </ac:spMkLst>
        </pc:spChg>
        <pc:grpChg chg="add mod">
          <ac:chgData name="Franz Seibold" userId="df3edf2f-3342-4456-80d3-fdc875e3af8c" providerId="ADAL" clId="{328B2058-4107-4D66-BED0-708CC2676BDF}" dt="2025-04-22T13:33:05.643" v="801" actId="1076"/>
          <ac:grpSpMkLst>
            <pc:docMk/>
            <pc:sldMk cId="3158016746" sldId="687"/>
            <ac:grpSpMk id="18" creationId="{82700E10-48EB-4619-BA2C-482F26923B8B}"/>
          </ac:grpSpMkLst>
        </pc:grpChg>
        <pc:picChg chg="add mod">
          <ac:chgData name="Franz Seibold" userId="df3edf2f-3342-4456-80d3-fdc875e3af8c" providerId="ADAL" clId="{328B2058-4107-4D66-BED0-708CC2676BDF}" dt="2025-04-22T13:28:06.171" v="679" actId="164"/>
          <ac:picMkLst>
            <pc:docMk/>
            <pc:sldMk cId="3158016746" sldId="687"/>
            <ac:picMk id="7" creationId="{67326263-0028-4124-A3D4-E4847B2A73B3}"/>
          </ac:picMkLst>
        </pc:picChg>
        <pc:cxnChg chg="add mod">
          <ac:chgData name="Franz Seibold" userId="df3edf2f-3342-4456-80d3-fdc875e3af8c" providerId="ADAL" clId="{328B2058-4107-4D66-BED0-708CC2676BDF}" dt="2025-04-22T13:28:06.171" v="679" actId="164"/>
          <ac:cxnSpMkLst>
            <pc:docMk/>
            <pc:sldMk cId="3158016746" sldId="687"/>
            <ac:cxnSpMk id="15" creationId="{C37858A4-C14E-46E7-BF4B-DEAF6EECA699}"/>
          </ac:cxnSpMkLst>
        </pc:cxnChg>
        <pc:cxnChg chg="add mod">
          <ac:chgData name="Franz Seibold" userId="df3edf2f-3342-4456-80d3-fdc875e3af8c" providerId="ADAL" clId="{328B2058-4107-4D66-BED0-708CC2676BDF}" dt="2025-04-22T13:33:05.643" v="801" actId="1076"/>
          <ac:cxnSpMkLst>
            <pc:docMk/>
            <pc:sldMk cId="3158016746" sldId="687"/>
            <ac:cxnSpMk id="41" creationId="{C0412106-74B2-4A82-90B2-354A2975E5EF}"/>
          </ac:cxnSpMkLst>
        </pc:cxnChg>
        <pc:cxnChg chg="add mod">
          <ac:chgData name="Franz Seibold" userId="df3edf2f-3342-4456-80d3-fdc875e3af8c" providerId="ADAL" clId="{328B2058-4107-4D66-BED0-708CC2676BDF}" dt="2025-04-22T13:33:05.643" v="801" actId="1076"/>
          <ac:cxnSpMkLst>
            <pc:docMk/>
            <pc:sldMk cId="3158016746" sldId="687"/>
            <ac:cxnSpMk id="43" creationId="{DCA8A957-1FA8-4C7F-8996-6C8E9D67F4B7}"/>
          </ac:cxnSpMkLst>
        </pc:cxnChg>
        <pc:cxnChg chg="add mod">
          <ac:chgData name="Franz Seibold" userId="df3edf2f-3342-4456-80d3-fdc875e3af8c" providerId="ADAL" clId="{328B2058-4107-4D66-BED0-708CC2676BDF}" dt="2025-04-22T13:33:05.643" v="801" actId="1076"/>
          <ac:cxnSpMkLst>
            <pc:docMk/>
            <pc:sldMk cId="3158016746" sldId="687"/>
            <ac:cxnSpMk id="53" creationId="{F470548C-3F39-441D-A0FC-790251D905B9}"/>
          </ac:cxnSpMkLst>
        </pc:cxnChg>
        <pc:cxnChg chg="add mod">
          <ac:chgData name="Franz Seibold" userId="df3edf2f-3342-4456-80d3-fdc875e3af8c" providerId="ADAL" clId="{328B2058-4107-4D66-BED0-708CC2676BDF}" dt="2025-04-22T13:33:05.643" v="801" actId="1076"/>
          <ac:cxnSpMkLst>
            <pc:docMk/>
            <pc:sldMk cId="3158016746" sldId="687"/>
            <ac:cxnSpMk id="58" creationId="{411FE524-6F9A-4DBD-9307-6BD087E56223}"/>
          </ac:cxnSpMkLst>
        </pc:cxnChg>
      </pc:sldChg>
    </pc:docChg>
  </pc:docChgLst>
  <pc:docChgLst>
    <pc:chgData name="bullingerm.tmt22" userId="S::bullingerm.tmt22@student.dhbw-heidenheim.de::9ce3b8b2-035f-4175-b301-998b03a50e38" providerId="AD" clId="Web-{CE6935EF-03B6-CEFA-2E2E-468AF0637301}"/>
    <pc:docChg chg="modSld">
      <pc:chgData name="bullingerm.tmt22" userId="S::bullingerm.tmt22@student.dhbw-heidenheim.de::9ce3b8b2-035f-4175-b301-998b03a50e38" providerId="AD" clId="Web-{CE6935EF-03B6-CEFA-2E2E-468AF0637301}" dt="2025-04-22T12:20:28.580" v="7"/>
      <pc:docMkLst>
        <pc:docMk/>
      </pc:docMkLst>
      <pc:sldChg chg="addSp delSp modSp">
        <pc:chgData name="bullingerm.tmt22" userId="S::bullingerm.tmt22@student.dhbw-heidenheim.de::9ce3b8b2-035f-4175-b301-998b03a50e38" providerId="AD" clId="Web-{CE6935EF-03B6-CEFA-2E2E-468AF0637301}" dt="2025-04-22T12:20:28.580" v="7"/>
        <pc:sldMkLst>
          <pc:docMk/>
          <pc:sldMk cId="3108981678" sldId="659"/>
        </pc:sldMkLst>
      </pc:sldChg>
    </pc:docChg>
  </pc:docChgLst>
  <pc:docChgLst>
    <pc:chgData name="staehlef.tmb22" userId="737d0583-0f84-4afa-9d32-9dff97d0f705" providerId="ADAL" clId="{9BFB086F-8080-FD40-8937-0CE9D6D1E221}"/>
    <pc:docChg chg="modSld">
      <pc:chgData name="staehlef.tmb22" userId="737d0583-0f84-4afa-9d32-9dff97d0f705" providerId="ADAL" clId="{9BFB086F-8080-FD40-8937-0CE9D6D1E221}" dt="2025-04-01T10:33:42.792" v="13" actId="20577"/>
      <pc:docMkLst>
        <pc:docMk/>
      </pc:docMkLst>
      <pc:sldChg chg="modSp">
        <pc:chgData name="staehlef.tmb22" userId="737d0583-0f84-4afa-9d32-9dff97d0f705" providerId="ADAL" clId="{9BFB086F-8080-FD40-8937-0CE9D6D1E221}" dt="2025-04-01T10:33:42.792" v="13" actId="20577"/>
        <pc:sldMkLst>
          <pc:docMk/>
          <pc:sldMk cId="3664439336" sldId="262"/>
        </pc:sldMkLst>
        <pc:spChg chg="mod">
          <ac:chgData name="staehlef.tmb22" userId="737d0583-0f84-4afa-9d32-9dff97d0f705" providerId="ADAL" clId="{9BFB086F-8080-FD40-8937-0CE9D6D1E221}" dt="2025-04-01T10:33:42.792" v="13" actId="20577"/>
          <ac:spMkLst>
            <pc:docMk/>
            <pc:sldMk cId="3664439336" sldId="262"/>
            <ac:spMk id="14" creationId="{C0024835-3B3D-40D8-8601-9961D5A4F2F4}"/>
          </ac:spMkLst>
        </pc:spChg>
      </pc:sldChg>
    </pc:docChg>
  </pc:docChgLst>
  <pc:docChgLst>
    <pc:chgData name="reilec.tmb22" userId="S::reilec.tmb22@student.dhbw-heidenheim.de::0b7e6988-e521-4a1e-900b-efd6b80549e1" providerId="AD" clId="Web-{012CFD02-61CF-B7F1-598C-B35834E48F8E}"/>
    <pc:docChg chg="addSld modSection">
      <pc:chgData name="reilec.tmb22" userId="S::reilec.tmb22@student.dhbw-heidenheim.de::0b7e6988-e521-4a1e-900b-efd6b80549e1" providerId="AD" clId="Web-{012CFD02-61CF-B7F1-598C-B35834E48F8E}" dt="2025-04-22T10:10:01.069" v="0"/>
      <pc:docMkLst>
        <pc:docMk/>
      </pc:docMkLst>
      <pc:sldChg chg="new">
        <pc:chgData name="reilec.tmb22" userId="S::reilec.tmb22@student.dhbw-heidenheim.de::0b7e6988-e521-4a1e-900b-efd6b80549e1" providerId="AD" clId="Web-{012CFD02-61CF-B7F1-598C-B35834E48F8E}" dt="2025-04-22T10:10:01.069" v="0"/>
        <pc:sldMkLst>
          <pc:docMk/>
          <pc:sldMk cId="2588153059" sldId="664"/>
        </pc:sldMkLst>
      </pc:sldChg>
    </pc:docChg>
  </pc:docChgLst>
  <pc:docChgLst>
    <pc:chgData name="seiboldf.tmb22" userId="S::seiboldf.tmb22@student.dhbw-heidenheim.de::df3edf2f-3342-4456-80d3-fdc875e3af8c" providerId="AD" clId="Web-{4D5BE70A-02A8-EA95-BACD-9BF56105000F}"/>
    <pc:docChg chg="addSld modSld sldOrd modSection">
      <pc:chgData name="seiboldf.tmb22" userId="S::seiboldf.tmb22@student.dhbw-heidenheim.de::df3edf2f-3342-4456-80d3-fdc875e3af8c" providerId="AD" clId="Web-{4D5BE70A-02A8-EA95-BACD-9BF56105000F}" dt="2025-04-22T07:17:38.944" v="436"/>
      <pc:docMkLst>
        <pc:docMk/>
      </pc:docMkLst>
      <pc:sldChg chg="modSp">
        <pc:chgData name="seiboldf.tmb22" userId="S::seiboldf.tmb22@student.dhbw-heidenheim.de::df3edf2f-3342-4456-80d3-fdc875e3af8c" providerId="AD" clId="Web-{4D5BE70A-02A8-EA95-BACD-9BF56105000F}" dt="2025-04-22T07:13:00.703" v="434" actId="20577"/>
        <pc:sldMkLst>
          <pc:docMk/>
          <pc:sldMk cId="3664439336" sldId="262"/>
        </pc:sldMkLst>
        <pc:spChg chg="mod">
          <ac:chgData name="seiboldf.tmb22" userId="S::seiboldf.tmb22@student.dhbw-heidenheim.de::df3edf2f-3342-4456-80d3-fdc875e3af8c" providerId="AD" clId="Web-{4D5BE70A-02A8-EA95-BACD-9BF56105000F}" dt="2025-04-22T07:13:00.703" v="434" actId="20577"/>
          <ac:spMkLst>
            <pc:docMk/>
            <pc:sldMk cId="3664439336" sldId="262"/>
            <ac:spMk id="14" creationId="{C0024835-3B3D-40D8-8601-9961D5A4F2F4}"/>
          </ac:spMkLst>
        </pc:spChg>
      </pc:sldChg>
      <pc:sldChg chg="modSp">
        <pc:chgData name="seiboldf.tmb22" userId="S::seiboldf.tmb22@student.dhbw-heidenheim.de::df3edf2f-3342-4456-80d3-fdc875e3af8c" providerId="AD" clId="Web-{4D5BE70A-02A8-EA95-BACD-9BF56105000F}" dt="2025-04-22T07:12:21.749" v="428" actId="20577"/>
        <pc:sldMkLst>
          <pc:docMk/>
          <pc:sldMk cId="1339647628" sldId="586"/>
        </pc:sldMkLst>
        <pc:spChg chg="mod">
          <ac:chgData name="seiboldf.tmb22" userId="S::seiboldf.tmb22@student.dhbw-heidenheim.de::df3edf2f-3342-4456-80d3-fdc875e3af8c" providerId="AD" clId="Web-{4D5BE70A-02A8-EA95-BACD-9BF56105000F}" dt="2025-04-22T07:12:21.749" v="428" actId="20577"/>
          <ac:spMkLst>
            <pc:docMk/>
            <pc:sldMk cId="1339647628" sldId="586"/>
            <ac:spMk id="651" creationId="{A9DC67A8-C3B8-8257-E624-EDFAF6904757}"/>
          </ac:spMkLst>
        </pc:spChg>
      </pc:sldChg>
      <pc:sldChg chg="modSp">
        <pc:chgData name="seiboldf.tmb22" userId="S::seiboldf.tmb22@student.dhbw-heidenheim.de::df3edf2f-3342-4456-80d3-fdc875e3af8c" providerId="AD" clId="Web-{4D5BE70A-02A8-EA95-BACD-9BF56105000F}" dt="2025-04-22T07:12:16.702" v="427" actId="20577"/>
        <pc:sldMkLst>
          <pc:docMk/>
          <pc:sldMk cId="241794236" sldId="643"/>
        </pc:sldMkLst>
        <pc:spChg chg="mod">
          <ac:chgData name="seiboldf.tmb22" userId="S::seiboldf.tmb22@student.dhbw-heidenheim.de::df3edf2f-3342-4456-80d3-fdc875e3af8c" providerId="AD" clId="Web-{4D5BE70A-02A8-EA95-BACD-9BF56105000F}" dt="2025-04-22T07:12:16.702" v="427" actId="20577"/>
          <ac:spMkLst>
            <pc:docMk/>
            <pc:sldMk cId="241794236" sldId="643"/>
            <ac:spMk id="55" creationId="{6BB3C6B6-B1E9-9039-0A04-0AE6960962A5}"/>
          </ac:spMkLst>
        </pc:spChg>
      </pc:sldChg>
      <pc:sldChg chg="modSp">
        <pc:chgData name="seiboldf.tmb22" userId="S::seiboldf.tmb22@student.dhbw-heidenheim.de::df3edf2f-3342-4456-80d3-fdc875e3af8c" providerId="AD" clId="Web-{4D5BE70A-02A8-EA95-BACD-9BF56105000F}" dt="2025-04-22T07:12:06.608" v="425" actId="20577"/>
        <pc:sldMkLst>
          <pc:docMk/>
          <pc:sldMk cId="3763831896" sldId="644"/>
        </pc:sldMkLst>
        <pc:spChg chg="mod">
          <ac:chgData name="seiboldf.tmb22" userId="S::seiboldf.tmb22@student.dhbw-heidenheim.de::df3edf2f-3342-4456-80d3-fdc875e3af8c" providerId="AD" clId="Web-{4D5BE70A-02A8-EA95-BACD-9BF56105000F}" dt="2025-04-22T07:12:06.608" v="425" actId="20577"/>
          <ac:spMkLst>
            <pc:docMk/>
            <pc:sldMk cId="3763831896" sldId="644"/>
            <ac:spMk id="55" creationId="{E720E307-4783-37A3-D590-7CB3F1E0659F}"/>
          </ac:spMkLst>
        </pc:spChg>
      </pc:sldChg>
      <pc:sldChg chg="modSp">
        <pc:chgData name="seiboldf.tmb22" userId="S::seiboldf.tmb22@student.dhbw-heidenheim.de::df3edf2f-3342-4456-80d3-fdc875e3af8c" providerId="AD" clId="Web-{4D5BE70A-02A8-EA95-BACD-9BF56105000F}" dt="2025-04-22T07:12:09.451" v="426" actId="20577"/>
        <pc:sldMkLst>
          <pc:docMk/>
          <pc:sldMk cId="3419869914" sldId="645"/>
        </pc:sldMkLst>
        <pc:spChg chg="mod">
          <ac:chgData name="seiboldf.tmb22" userId="S::seiboldf.tmb22@student.dhbw-heidenheim.de::df3edf2f-3342-4456-80d3-fdc875e3af8c" providerId="AD" clId="Web-{4D5BE70A-02A8-EA95-BACD-9BF56105000F}" dt="2025-04-22T07:12:09.451" v="426" actId="20577"/>
          <ac:spMkLst>
            <pc:docMk/>
            <pc:sldMk cId="3419869914" sldId="645"/>
            <ac:spMk id="55" creationId="{C372FAB1-9F20-4F55-DFD5-D753AF426AB3}"/>
          </ac:spMkLst>
        </pc:spChg>
      </pc:sldChg>
      <pc:sldChg chg="modSp">
        <pc:chgData name="seiboldf.tmb22" userId="S::seiboldf.tmb22@student.dhbw-heidenheim.de::df3edf2f-3342-4456-80d3-fdc875e3af8c" providerId="AD" clId="Web-{4D5BE70A-02A8-EA95-BACD-9BF56105000F}" dt="2025-04-22T07:12:02.061" v="424" actId="20577"/>
        <pc:sldMkLst>
          <pc:docMk/>
          <pc:sldMk cId="3408027728" sldId="646"/>
        </pc:sldMkLst>
        <pc:spChg chg="mod">
          <ac:chgData name="seiboldf.tmb22" userId="S::seiboldf.tmb22@student.dhbw-heidenheim.de::df3edf2f-3342-4456-80d3-fdc875e3af8c" providerId="AD" clId="Web-{4D5BE70A-02A8-EA95-BACD-9BF56105000F}" dt="2025-04-22T07:12:02.061" v="424" actId="20577"/>
          <ac:spMkLst>
            <pc:docMk/>
            <pc:sldMk cId="3408027728" sldId="646"/>
            <ac:spMk id="55" creationId="{457EAF4D-0F7D-1EE6-10A2-2DA82098BE85}"/>
          </ac:spMkLst>
        </pc:spChg>
      </pc:sldChg>
      <pc:sldChg chg="modSp new ord">
        <pc:chgData name="seiboldf.tmb22" userId="S::seiboldf.tmb22@student.dhbw-heidenheim.de::df3edf2f-3342-4456-80d3-fdc875e3af8c" providerId="AD" clId="Web-{4D5BE70A-02A8-EA95-BACD-9BF56105000F}" dt="2025-04-22T07:11:43.107" v="423" actId="20577"/>
        <pc:sldMkLst>
          <pc:docMk/>
          <pc:sldMk cId="3388882345" sldId="652"/>
        </pc:sldMkLst>
        <pc:spChg chg="mod">
          <ac:chgData name="seiboldf.tmb22" userId="S::seiboldf.tmb22@student.dhbw-heidenheim.de::df3edf2f-3342-4456-80d3-fdc875e3af8c" providerId="AD" clId="Web-{4D5BE70A-02A8-EA95-BACD-9BF56105000F}" dt="2025-04-22T06:39:42.201" v="11" actId="20577"/>
          <ac:spMkLst>
            <pc:docMk/>
            <pc:sldMk cId="3388882345" sldId="652"/>
            <ac:spMk id="2" creationId="{7F003D79-C5AA-3ECB-0DF9-299BE0379C18}"/>
          </ac:spMkLst>
        </pc:spChg>
        <pc:spChg chg="mod">
          <ac:chgData name="seiboldf.tmb22" userId="S::seiboldf.tmb22@student.dhbw-heidenheim.de::df3edf2f-3342-4456-80d3-fdc875e3af8c" providerId="AD" clId="Web-{4D5BE70A-02A8-EA95-BACD-9BF56105000F}" dt="2025-04-22T06:59:31.074" v="251" actId="20577"/>
          <ac:spMkLst>
            <pc:docMk/>
            <pc:sldMk cId="3388882345" sldId="652"/>
            <ac:spMk id="3" creationId="{F4B293D8-5ED2-74E3-D99D-820F7E8EEADF}"/>
          </ac:spMkLst>
        </pc:spChg>
        <pc:spChg chg="mod">
          <ac:chgData name="seiboldf.tmb22" userId="S::seiboldf.tmb22@student.dhbw-heidenheim.de::df3edf2f-3342-4456-80d3-fdc875e3af8c" providerId="AD" clId="Web-{4D5BE70A-02A8-EA95-BACD-9BF56105000F}" dt="2025-04-22T07:11:43.107" v="423" actId="20577"/>
          <ac:spMkLst>
            <pc:docMk/>
            <pc:sldMk cId="3388882345" sldId="652"/>
            <ac:spMk id="4" creationId="{801F26D2-C9E0-6F6D-D67C-1792E4552236}"/>
          </ac:spMkLst>
        </pc:spChg>
      </pc:sldChg>
      <pc:sldChg chg="modSp add replId">
        <pc:chgData name="seiboldf.tmb22" userId="S::seiboldf.tmb22@student.dhbw-heidenheim.de::df3edf2f-3342-4456-80d3-fdc875e3af8c" providerId="AD" clId="Web-{4D5BE70A-02A8-EA95-BACD-9BF56105000F}" dt="2025-04-22T07:02:40.594" v="362" actId="20577"/>
        <pc:sldMkLst>
          <pc:docMk/>
          <pc:sldMk cId="1165364471" sldId="653"/>
        </pc:sldMkLst>
      </pc:sldChg>
      <pc:sldChg chg="delSp modSp add replId">
        <pc:chgData name="seiboldf.tmb22" userId="S::seiboldf.tmb22@student.dhbw-heidenheim.de::df3edf2f-3342-4456-80d3-fdc875e3af8c" providerId="AD" clId="Web-{4D5BE70A-02A8-EA95-BACD-9BF56105000F}" dt="2025-04-22T07:17:38.944" v="436"/>
        <pc:sldMkLst>
          <pc:docMk/>
          <pc:sldMk cId="46571281" sldId="654"/>
        </pc:sldMkLst>
        <pc:spChg chg="mod">
          <ac:chgData name="seiboldf.tmb22" userId="S::seiboldf.tmb22@student.dhbw-heidenheim.de::df3edf2f-3342-4456-80d3-fdc875e3af8c" providerId="AD" clId="Web-{4D5BE70A-02A8-EA95-BACD-9BF56105000F}" dt="2025-04-22T06:59:21.167" v="234" actId="20577"/>
          <ac:spMkLst>
            <pc:docMk/>
            <pc:sldMk cId="46571281" sldId="654"/>
            <ac:spMk id="3" creationId="{16A5F16B-7DF1-39F6-42BD-A22F07D8F6D7}"/>
          </ac:spMkLst>
        </pc:spChg>
      </pc:sldChg>
      <pc:sldChg chg="modSp add replId">
        <pc:chgData name="seiboldf.tmb22" userId="S::seiboldf.tmb22@student.dhbw-heidenheim.de::df3edf2f-3342-4456-80d3-fdc875e3af8c" providerId="AD" clId="Web-{4D5BE70A-02A8-EA95-BACD-9BF56105000F}" dt="2025-04-22T07:02:56.110" v="374" actId="20577"/>
        <pc:sldMkLst>
          <pc:docMk/>
          <pc:sldMk cId="2121743425" sldId="655"/>
        </pc:sldMkLst>
        <pc:spChg chg="mod">
          <ac:chgData name="seiboldf.tmb22" userId="S::seiboldf.tmb22@student.dhbw-heidenheim.de::df3edf2f-3342-4456-80d3-fdc875e3af8c" providerId="AD" clId="Web-{4D5BE70A-02A8-EA95-BACD-9BF56105000F}" dt="2025-04-22T07:02:56.110" v="374" actId="20577"/>
          <ac:spMkLst>
            <pc:docMk/>
            <pc:sldMk cId="2121743425" sldId="655"/>
            <ac:spMk id="3" creationId="{BAB316DD-EDF2-D1E4-74A9-FB2DCB51E292}"/>
          </ac:spMkLst>
        </pc:spChg>
      </pc:sldChg>
      <pc:sldChg chg="modSp add replId">
        <pc:chgData name="seiboldf.tmb22" userId="S::seiboldf.tmb22@student.dhbw-heidenheim.de::df3edf2f-3342-4456-80d3-fdc875e3af8c" providerId="AD" clId="Web-{4D5BE70A-02A8-EA95-BACD-9BF56105000F}" dt="2025-04-22T07:03:38.611" v="417" actId="20577"/>
        <pc:sldMkLst>
          <pc:docMk/>
          <pc:sldMk cId="3452969880" sldId="656"/>
        </pc:sldMkLst>
      </pc:sldChg>
    </pc:docChg>
  </pc:docChgLst>
  <pc:docChgLst>
    <pc:chgData name="seiboldf.tmb22" userId="S::seiboldf.tmb22@student.dhbw-heidenheim.de::df3edf2f-3342-4456-80d3-fdc875e3af8c" providerId="AD" clId="Web-{E2990596-E83B-6830-1160-DBDEE62184C8}"/>
    <pc:docChg chg="addSld modSld modSection">
      <pc:chgData name="seiboldf.tmb22" userId="S::seiboldf.tmb22@student.dhbw-heidenheim.de::df3edf2f-3342-4456-80d3-fdc875e3af8c" providerId="AD" clId="Web-{E2990596-E83B-6830-1160-DBDEE62184C8}" dt="2025-04-22T11:07:26.236" v="91" actId="14100"/>
      <pc:docMkLst>
        <pc:docMk/>
      </pc:docMkLst>
      <pc:sldChg chg="modSp">
        <pc:chgData name="seiboldf.tmb22" userId="S::seiboldf.tmb22@student.dhbw-heidenheim.de::df3edf2f-3342-4456-80d3-fdc875e3af8c" providerId="AD" clId="Web-{E2990596-E83B-6830-1160-DBDEE62184C8}" dt="2025-04-22T11:07:26.236" v="91" actId="14100"/>
        <pc:sldMkLst>
          <pc:docMk/>
          <pc:sldMk cId="46571281" sldId="654"/>
        </pc:sldMkLst>
        <pc:spChg chg="mod">
          <ac:chgData name="seiboldf.tmb22" userId="S::seiboldf.tmb22@student.dhbw-heidenheim.de::df3edf2f-3342-4456-80d3-fdc875e3af8c" providerId="AD" clId="Web-{E2990596-E83B-6830-1160-DBDEE62184C8}" dt="2025-04-22T11:07:26.236" v="91" actId="14100"/>
          <ac:spMkLst>
            <pc:docMk/>
            <pc:sldMk cId="46571281" sldId="654"/>
            <ac:spMk id="25" creationId="{12A986E4-65A7-4AD7-A7EF-CE5306CB23EB}"/>
          </ac:spMkLst>
        </pc:spChg>
      </pc:sldChg>
      <pc:sldChg chg="addSp delSp modSp add replId delAnim">
        <pc:chgData name="seiboldf.tmb22" userId="S::seiboldf.tmb22@student.dhbw-heidenheim.de::df3edf2f-3342-4456-80d3-fdc875e3af8c" providerId="AD" clId="Web-{E2990596-E83B-6830-1160-DBDEE62184C8}" dt="2025-04-22T11:03:49.100" v="89" actId="1076"/>
        <pc:sldMkLst>
          <pc:docMk/>
          <pc:sldMk cId="3141788730" sldId="665"/>
        </pc:sldMkLst>
        <pc:spChg chg="add mod">
          <ac:chgData name="seiboldf.tmb22" userId="S::seiboldf.tmb22@student.dhbw-heidenheim.de::df3edf2f-3342-4456-80d3-fdc875e3af8c" providerId="AD" clId="Web-{E2990596-E83B-6830-1160-DBDEE62184C8}" dt="2025-04-22T11:03:49.100" v="89" actId="1076"/>
          <ac:spMkLst>
            <pc:docMk/>
            <pc:sldMk cId="3141788730" sldId="665"/>
            <ac:spMk id="7" creationId="{AFCE89D9-849E-F028-7BE9-A9187E0A5535}"/>
          </ac:spMkLst>
        </pc:spChg>
        <pc:picChg chg="add del mod">
          <ac:chgData name="seiboldf.tmb22" userId="S::seiboldf.tmb22@student.dhbw-heidenheim.de::df3edf2f-3342-4456-80d3-fdc875e3af8c" providerId="AD" clId="Web-{E2990596-E83B-6830-1160-DBDEE62184C8}" dt="2025-04-22T11:03:44.210" v="88" actId="14100"/>
          <ac:picMkLst>
            <pc:docMk/>
            <pc:sldMk cId="3141788730" sldId="665"/>
            <ac:picMk id="8" creationId="{4E439D08-1C9A-F799-3738-73CB505222FB}"/>
          </ac:picMkLst>
        </pc:picChg>
      </pc:sldChg>
    </pc:docChg>
  </pc:docChgLst>
  <pc:docChgLst>
    <pc:chgData name="reilec.tmb22" userId="S::reilec.tmb22@student.dhbw-heidenheim.de::0b7e6988-e521-4a1e-900b-efd6b80549e1" providerId="AD" clId="Web-{5A12A4AB-1DD4-0998-5D5D-2D2411A60F7C}"/>
    <pc:docChg chg="delSld modSld modSection">
      <pc:chgData name="reilec.tmb22" userId="S::reilec.tmb22@student.dhbw-heidenheim.de::0b7e6988-e521-4a1e-900b-efd6b80549e1" providerId="AD" clId="Web-{5A12A4AB-1DD4-0998-5D5D-2D2411A60F7C}" dt="2025-04-22T13:15:30.895" v="303" actId="20577"/>
      <pc:docMkLst>
        <pc:docMk/>
      </pc:docMkLst>
      <pc:sldChg chg="addSp modSp">
        <pc:chgData name="reilec.tmb22" userId="S::reilec.tmb22@student.dhbw-heidenheim.de::0b7e6988-e521-4a1e-900b-efd6b80549e1" providerId="AD" clId="Web-{5A12A4AB-1DD4-0998-5D5D-2D2411A60F7C}" dt="2025-04-22T13:15:30.895" v="303" actId="20577"/>
        <pc:sldMkLst>
          <pc:docMk/>
          <pc:sldMk cId="3664439336" sldId="262"/>
        </pc:sldMkLst>
        <pc:spChg chg="mod">
          <ac:chgData name="reilec.tmb22" userId="S::reilec.tmb22@student.dhbw-heidenheim.de::0b7e6988-e521-4a1e-900b-efd6b80549e1" providerId="AD" clId="Web-{5A12A4AB-1DD4-0998-5D5D-2D2411A60F7C}" dt="2025-04-22T13:15:30.895" v="303" actId="20577"/>
          <ac:spMkLst>
            <pc:docMk/>
            <pc:sldMk cId="3664439336" sldId="262"/>
            <ac:spMk id="14" creationId="{C0024835-3B3D-40D8-8601-9961D5A4F2F4}"/>
          </ac:spMkLst>
        </pc:spChg>
        <pc:picChg chg="add mod">
          <ac:chgData name="reilec.tmb22" userId="S::reilec.tmb22@student.dhbw-heidenheim.de::0b7e6988-e521-4a1e-900b-efd6b80549e1" providerId="AD" clId="Web-{5A12A4AB-1DD4-0998-5D5D-2D2411A60F7C}" dt="2025-04-22T12:33:26.810" v="1" actId="1076"/>
          <ac:picMkLst>
            <pc:docMk/>
            <pc:sldMk cId="3664439336" sldId="262"/>
            <ac:picMk id="4" creationId="{098160E6-8D61-094D-9A9C-2A9B894C7DFA}"/>
          </ac:picMkLst>
        </pc:picChg>
      </pc:sldChg>
      <pc:sldChg chg="modSp">
        <pc:chgData name="reilec.tmb22" userId="S::reilec.tmb22@student.dhbw-heidenheim.de::0b7e6988-e521-4a1e-900b-efd6b80549e1" providerId="AD" clId="Web-{5A12A4AB-1DD4-0998-5D5D-2D2411A60F7C}" dt="2025-04-22T13:04:29.701" v="283" actId="1076"/>
        <pc:sldMkLst>
          <pc:docMk/>
          <pc:sldMk cId="1314778286" sldId="668"/>
        </pc:sldMkLst>
        <pc:spChg chg="mod">
          <ac:chgData name="reilec.tmb22" userId="S::reilec.tmb22@student.dhbw-heidenheim.de::0b7e6988-e521-4a1e-900b-efd6b80549e1" providerId="AD" clId="Web-{5A12A4AB-1DD4-0998-5D5D-2D2411A60F7C}" dt="2025-04-22T13:03:32.777" v="282" actId="20577"/>
          <ac:spMkLst>
            <pc:docMk/>
            <pc:sldMk cId="1314778286" sldId="668"/>
            <ac:spMk id="5" creationId="{096AD823-263C-343F-E7A9-9838E189D069}"/>
          </ac:spMkLst>
        </pc:spChg>
        <pc:picChg chg="mod">
          <ac:chgData name="reilec.tmb22" userId="S::reilec.tmb22@student.dhbw-heidenheim.de::0b7e6988-e521-4a1e-900b-efd6b80549e1" providerId="AD" clId="Web-{5A12A4AB-1DD4-0998-5D5D-2D2411A60F7C}" dt="2025-04-22T13:04:29.701" v="283" actId="1076"/>
          <ac:picMkLst>
            <pc:docMk/>
            <pc:sldMk cId="1314778286" sldId="668"/>
            <ac:picMk id="2" creationId="{BA6C7EBB-D7D4-E90A-BE0D-55137861BC67}"/>
          </ac:picMkLst>
        </pc:picChg>
      </pc:sldChg>
      <pc:sldChg chg="del">
        <pc:chgData name="reilec.tmb22" userId="S::reilec.tmb22@student.dhbw-heidenheim.de::0b7e6988-e521-4a1e-900b-efd6b80549e1" providerId="AD" clId="Web-{5A12A4AB-1DD4-0998-5D5D-2D2411A60F7C}" dt="2025-04-22T13:05:20.843" v="284"/>
        <pc:sldMkLst>
          <pc:docMk/>
          <pc:sldMk cId="544195729" sldId="670"/>
        </pc:sldMkLst>
      </pc:sldChg>
    </pc:docChg>
  </pc:docChgLst>
  <pc:docChgLst>
    <pc:chgData name="bullingerm.tmt22" userId="S::bullingerm.tmt22@student.dhbw-heidenheim.de::9ce3b8b2-035f-4175-b301-998b03a50e38" providerId="AD" clId="Web-{DC833E61-EB55-8EC7-44F1-E7312E6F03CD}"/>
    <pc:docChg chg="modSld">
      <pc:chgData name="bullingerm.tmt22" userId="S::bullingerm.tmt22@student.dhbw-heidenheim.de::9ce3b8b2-035f-4175-b301-998b03a50e38" providerId="AD" clId="Web-{DC833E61-EB55-8EC7-44F1-E7312E6F03CD}" dt="2025-03-31T18:26:36.489" v="1" actId="20577"/>
      <pc:docMkLst>
        <pc:docMk/>
      </pc:docMkLst>
      <pc:sldChg chg="modSp">
        <pc:chgData name="bullingerm.tmt22" userId="S::bullingerm.tmt22@student.dhbw-heidenheim.de::9ce3b8b2-035f-4175-b301-998b03a50e38" providerId="AD" clId="Web-{DC833E61-EB55-8EC7-44F1-E7312E6F03CD}" dt="2025-03-31T18:26:36.489" v="1" actId="20577"/>
        <pc:sldMkLst>
          <pc:docMk/>
          <pc:sldMk cId="52686789" sldId="631"/>
        </pc:sldMkLst>
        <pc:spChg chg="mod">
          <ac:chgData name="bullingerm.tmt22" userId="S::bullingerm.tmt22@student.dhbw-heidenheim.de::9ce3b8b2-035f-4175-b301-998b03a50e38" providerId="AD" clId="Web-{DC833E61-EB55-8EC7-44F1-E7312E6F03CD}" dt="2025-03-31T18:26:36.489" v="1" actId="20577"/>
          <ac:spMkLst>
            <pc:docMk/>
            <pc:sldMk cId="52686789" sldId="631"/>
            <ac:spMk id="44" creationId="{4EAFAA3B-0666-4042-9FBA-CFBBF49E0AB7}"/>
          </ac:spMkLst>
        </pc:spChg>
      </pc:sldChg>
    </pc:docChg>
  </pc:docChgLst>
  <pc:docChgLst>
    <pc:chgData name="reilec.tmb22" userId="S::reilec.tmb22@student.dhbw-heidenheim.de::0b7e6988-e521-4a1e-900b-efd6b80549e1" providerId="AD" clId="Web-{C1BD72BE-10CB-298B-90B0-13FA5F7189FF}"/>
    <pc:docChg chg="modSld">
      <pc:chgData name="reilec.tmb22" userId="S::reilec.tmb22@student.dhbw-heidenheim.de::0b7e6988-e521-4a1e-900b-efd6b80549e1" providerId="AD" clId="Web-{C1BD72BE-10CB-298B-90B0-13FA5F7189FF}" dt="2025-04-22T13:46:48.653" v="1" actId="20577"/>
      <pc:docMkLst>
        <pc:docMk/>
      </pc:docMkLst>
      <pc:sldChg chg="modSp">
        <pc:chgData name="reilec.tmb22" userId="S::reilec.tmb22@student.dhbw-heidenheim.de::0b7e6988-e521-4a1e-900b-efd6b80549e1" providerId="AD" clId="Web-{C1BD72BE-10CB-298B-90B0-13FA5F7189FF}" dt="2025-04-22T13:46:48.653" v="1" actId="20577"/>
        <pc:sldMkLst>
          <pc:docMk/>
          <pc:sldMk cId="3664439336" sldId="262"/>
        </pc:sldMkLst>
        <pc:spChg chg="mod">
          <ac:chgData name="reilec.tmb22" userId="S::reilec.tmb22@student.dhbw-heidenheim.de::0b7e6988-e521-4a1e-900b-efd6b80549e1" providerId="AD" clId="Web-{C1BD72BE-10CB-298B-90B0-13FA5F7189FF}" dt="2025-04-22T13:46:48.653" v="1" actId="20577"/>
          <ac:spMkLst>
            <pc:docMk/>
            <pc:sldMk cId="3664439336" sldId="262"/>
            <ac:spMk id="14" creationId="{C0024835-3B3D-40D8-8601-9961D5A4F2F4}"/>
          </ac:spMkLst>
        </pc:spChg>
      </pc:sldChg>
    </pc:docChg>
  </pc:docChgLst>
  <pc:docChgLst>
    <pc:chgData name="staehlef.tmb22" userId="S::staehlef.tmb22@student.dhbw-heidenheim.de::737d0583-0f84-4afa-9d32-9dff97d0f705" providerId="AD" clId="Web-{A2735869-A166-1AE8-5D3F-72BE3D0AC2A0}"/>
    <pc:docChg chg="addSld delSld modSld sldOrd modSection">
      <pc:chgData name="staehlef.tmb22" userId="S::staehlef.tmb22@student.dhbw-heidenheim.de::737d0583-0f84-4afa-9d32-9dff97d0f705" providerId="AD" clId="Web-{A2735869-A166-1AE8-5D3F-72BE3D0AC2A0}" dt="2025-04-22T13:17:54.065" v="487"/>
      <pc:docMkLst>
        <pc:docMk/>
      </pc:docMkLst>
      <pc:sldChg chg="addSp delSp modSp">
        <pc:chgData name="staehlef.tmb22" userId="S::staehlef.tmb22@student.dhbw-heidenheim.de::737d0583-0f84-4afa-9d32-9dff97d0f705" providerId="AD" clId="Web-{A2735869-A166-1AE8-5D3F-72BE3D0AC2A0}" dt="2025-04-22T11:59:25.852" v="127"/>
        <pc:sldMkLst>
          <pc:docMk/>
          <pc:sldMk cId="3126125948" sldId="658"/>
        </pc:sldMkLst>
        <pc:picChg chg="add mod">
          <ac:chgData name="staehlef.tmb22" userId="S::staehlef.tmb22@student.dhbw-heidenheim.de::737d0583-0f84-4afa-9d32-9dff97d0f705" providerId="AD" clId="Web-{A2735869-A166-1AE8-5D3F-72BE3D0AC2A0}" dt="2025-04-22T11:59:25.852" v="127"/>
          <ac:picMkLst>
            <pc:docMk/>
            <pc:sldMk cId="3126125948" sldId="658"/>
            <ac:picMk id="5" creationId="{B8B31BE6-5D11-5CE2-4218-C1C9F18B7F5A}"/>
          </ac:picMkLst>
        </pc:picChg>
      </pc:sldChg>
      <pc:sldChg chg="addSp delSp del">
        <pc:chgData name="staehlef.tmb22" userId="S::staehlef.tmb22@student.dhbw-heidenheim.de::737d0583-0f84-4afa-9d32-9dff97d0f705" providerId="AD" clId="Web-{A2735869-A166-1AE8-5D3F-72BE3D0AC2A0}" dt="2025-04-22T13:17:54.065" v="487"/>
        <pc:sldMkLst>
          <pc:docMk/>
          <pc:sldMk cId="3108981678" sldId="659"/>
        </pc:sldMkLst>
      </pc:sldChg>
      <pc:sldChg chg="addSp delSp modSp add replId">
        <pc:chgData name="staehlef.tmb22" userId="S::staehlef.tmb22@student.dhbw-heidenheim.de::737d0583-0f84-4afa-9d32-9dff97d0f705" providerId="AD" clId="Web-{A2735869-A166-1AE8-5D3F-72BE3D0AC2A0}" dt="2025-04-22T12:00:03.651" v="128"/>
        <pc:sldMkLst>
          <pc:docMk/>
          <pc:sldMk cId="2182309661" sldId="661"/>
        </pc:sldMkLst>
        <pc:spChg chg="mod">
          <ac:chgData name="staehlef.tmb22" userId="S::staehlef.tmb22@student.dhbw-heidenheim.de::737d0583-0f84-4afa-9d32-9dff97d0f705" providerId="AD" clId="Web-{A2735869-A166-1AE8-5D3F-72BE3D0AC2A0}" dt="2025-04-22T10:01:00.958" v="20" actId="20577"/>
          <ac:spMkLst>
            <pc:docMk/>
            <pc:sldMk cId="2182309661" sldId="661"/>
            <ac:spMk id="3" creationId="{5E995090-A6D1-7577-A1B0-F07E1B9A9039}"/>
          </ac:spMkLst>
        </pc:spChg>
        <pc:picChg chg="add mod modCrop">
          <ac:chgData name="staehlef.tmb22" userId="S::staehlef.tmb22@student.dhbw-heidenheim.de::737d0583-0f84-4afa-9d32-9dff97d0f705" providerId="AD" clId="Web-{A2735869-A166-1AE8-5D3F-72BE3D0AC2A0}" dt="2025-04-22T10:02:41.356" v="31"/>
          <ac:picMkLst>
            <pc:docMk/>
            <pc:sldMk cId="2182309661" sldId="661"/>
            <ac:picMk id="7" creationId="{7EC7A606-EF2A-C3A9-1770-D78266903BEC}"/>
          </ac:picMkLst>
        </pc:picChg>
        <pc:picChg chg="add mod">
          <ac:chgData name="staehlef.tmb22" userId="S::staehlef.tmb22@student.dhbw-heidenheim.de::737d0583-0f84-4afa-9d32-9dff97d0f705" providerId="AD" clId="Web-{A2735869-A166-1AE8-5D3F-72BE3D0AC2A0}" dt="2025-04-22T12:00:03.651" v="128"/>
          <ac:picMkLst>
            <pc:docMk/>
            <pc:sldMk cId="2182309661" sldId="661"/>
            <ac:picMk id="8" creationId="{B8D2D719-DED0-2D5C-D142-6AC2B3857F6D}"/>
          </ac:picMkLst>
        </pc:picChg>
      </pc:sldChg>
      <pc:sldChg chg="new del">
        <pc:chgData name="staehlef.tmb22" userId="S::staehlef.tmb22@student.dhbw-heidenheim.de::737d0583-0f84-4afa-9d32-9dff97d0f705" providerId="AD" clId="Web-{A2735869-A166-1AE8-5D3F-72BE3D0AC2A0}" dt="2025-04-22T10:05:13.430" v="40"/>
        <pc:sldMkLst>
          <pc:docMk/>
          <pc:sldMk cId="1577972764" sldId="662"/>
        </pc:sldMkLst>
      </pc:sldChg>
      <pc:sldChg chg="addSp delSp modSp new addAnim">
        <pc:chgData name="staehlef.tmb22" userId="S::staehlef.tmb22@student.dhbw-heidenheim.de::737d0583-0f84-4afa-9d32-9dff97d0f705" providerId="AD" clId="Web-{A2735869-A166-1AE8-5D3F-72BE3D0AC2A0}" dt="2025-04-22T12:23:17.593" v="196"/>
        <pc:sldMkLst>
          <pc:docMk/>
          <pc:sldMk cId="581652493" sldId="663"/>
        </pc:sldMkLst>
        <pc:spChg chg="mod">
          <ac:chgData name="staehlef.tmb22" userId="S::staehlef.tmb22@student.dhbw-heidenheim.de::737d0583-0f84-4afa-9d32-9dff97d0f705" providerId="AD" clId="Web-{A2735869-A166-1AE8-5D3F-72BE3D0AC2A0}" dt="2025-04-22T10:04:54.006" v="35" actId="20577"/>
          <ac:spMkLst>
            <pc:docMk/>
            <pc:sldMk cId="581652493" sldId="663"/>
            <ac:spMk id="2" creationId="{3C59B414-E3DD-FDB8-3973-748AB23F7C2F}"/>
          </ac:spMkLst>
        </pc:spChg>
        <pc:spChg chg="mod">
          <ac:chgData name="staehlef.tmb22" userId="S::staehlef.tmb22@student.dhbw-heidenheim.de::737d0583-0f84-4afa-9d32-9dff97d0f705" providerId="AD" clId="Web-{A2735869-A166-1AE8-5D3F-72BE3D0AC2A0}" dt="2025-04-22T10:05:05.460" v="39" actId="20577"/>
          <ac:spMkLst>
            <pc:docMk/>
            <pc:sldMk cId="581652493" sldId="663"/>
            <ac:spMk id="3" creationId="{6C1280C7-703A-57A3-E338-0D022E3313F5}"/>
          </ac:spMkLst>
        </pc:spChg>
        <pc:spChg chg="add mod">
          <ac:chgData name="staehlef.tmb22" userId="S::staehlef.tmb22@student.dhbw-heidenheim.de::737d0583-0f84-4afa-9d32-9dff97d0f705" providerId="AD" clId="Web-{A2735869-A166-1AE8-5D3F-72BE3D0AC2A0}" dt="2025-04-22T12:09:24.500" v="194" actId="20577"/>
          <ac:spMkLst>
            <pc:docMk/>
            <pc:sldMk cId="581652493" sldId="663"/>
            <ac:spMk id="12" creationId="{D288ABF8-46DC-E62D-7AD6-9A0F9A110BDC}"/>
          </ac:spMkLst>
        </pc:spChg>
      </pc:sldChg>
      <pc:sldChg chg="ord">
        <pc:chgData name="staehlef.tmb22" userId="S::staehlef.tmb22@student.dhbw-heidenheim.de::737d0583-0f84-4afa-9d32-9dff97d0f705" providerId="AD" clId="Web-{A2735869-A166-1AE8-5D3F-72BE3D0AC2A0}" dt="2025-04-22T12:20:17.712" v="195"/>
        <pc:sldMkLst>
          <pc:docMk/>
          <pc:sldMk cId="1520689549" sldId="676"/>
        </pc:sldMkLst>
      </pc:sldChg>
      <pc:sldChg chg="addSp delSp modSp add replId">
        <pc:chgData name="staehlef.tmb22" userId="S::staehlef.tmb22@student.dhbw-heidenheim.de::737d0583-0f84-4afa-9d32-9dff97d0f705" providerId="AD" clId="Web-{A2735869-A166-1AE8-5D3F-72BE3D0AC2A0}" dt="2025-04-22T13:17:47.081" v="486" actId="1076"/>
        <pc:sldMkLst>
          <pc:docMk/>
          <pc:sldMk cId="1591261179" sldId="685"/>
        </pc:sldMkLst>
        <pc:spChg chg="add mod">
          <ac:chgData name="staehlef.tmb22" userId="S::staehlef.tmb22@student.dhbw-heidenheim.de::737d0583-0f84-4afa-9d32-9dff97d0f705" providerId="AD" clId="Web-{A2735869-A166-1AE8-5D3F-72BE3D0AC2A0}" dt="2025-04-22T12:47:26.895" v="331" actId="1076"/>
          <ac:spMkLst>
            <pc:docMk/>
            <pc:sldMk cId="1591261179" sldId="685"/>
            <ac:spMk id="8" creationId="{C0DEF5F5-4243-197A-A183-F4DB6D12BF1A}"/>
          </ac:spMkLst>
        </pc:spChg>
        <pc:spChg chg="add mod">
          <ac:chgData name="staehlef.tmb22" userId="S::staehlef.tmb22@student.dhbw-heidenheim.de::737d0583-0f84-4afa-9d32-9dff97d0f705" providerId="AD" clId="Web-{A2735869-A166-1AE8-5D3F-72BE3D0AC2A0}" dt="2025-04-22T12:37:04.562" v="253" actId="1076"/>
          <ac:spMkLst>
            <pc:docMk/>
            <pc:sldMk cId="1591261179" sldId="685"/>
            <ac:spMk id="13" creationId="{1AB69D6A-743F-5D06-497E-0AD21972989E}"/>
          </ac:spMkLst>
        </pc:spChg>
        <pc:spChg chg="add mod">
          <ac:chgData name="staehlef.tmb22" userId="S::staehlef.tmb22@student.dhbw-heidenheim.de::737d0583-0f84-4afa-9d32-9dff97d0f705" providerId="AD" clId="Web-{A2735869-A166-1AE8-5D3F-72BE3D0AC2A0}" dt="2025-04-22T12:36:39.639" v="248" actId="20577"/>
          <ac:spMkLst>
            <pc:docMk/>
            <pc:sldMk cId="1591261179" sldId="685"/>
            <ac:spMk id="14" creationId="{3DDE7F7A-0757-C2D9-9C42-2090C15D61AA}"/>
          </ac:spMkLst>
        </pc:spChg>
        <pc:spChg chg="add mod">
          <ac:chgData name="staehlef.tmb22" userId="S::staehlef.tmb22@student.dhbw-heidenheim.de::737d0583-0f84-4afa-9d32-9dff97d0f705" providerId="AD" clId="Web-{A2735869-A166-1AE8-5D3F-72BE3D0AC2A0}" dt="2025-04-22T12:36:58.530" v="252" actId="20577"/>
          <ac:spMkLst>
            <pc:docMk/>
            <pc:sldMk cId="1591261179" sldId="685"/>
            <ac:spMk id="15" creationId="{1DEBAC97-7944-F728-336E-54AB21F39D7B}"/>
          </ac:spMkLst>
        </pc:spChg>
        <pc:spChg chg="add mod">
          <ac:chgData name="staehlef.tmb22" userId="S::staehlef.tmb22@student.dhbw-heidenheim.de::737d0583-0f84-4afa-9d32-9dff97d0f705" providerId="AD" clId="Web-{A2735869-A166-1AE8-5D3F-72BE3D0AC2A0}" dt="2025-04-22T12:57:22.243" v="405" actId="1076"/>
          <ac:spMkLst>
            <pc:docMk/>
            <pc:sldMk cId="1591261179" sldId="685"/>
            <ac:spMk id="20" creationId="{D474D01A-3B46-FA0B-BE5D-57E9A5C3EE9D}"/>
          </ac:spMkLst>
        </pc:spChg>
        <pc:spChg chg="add mod">
          <ac:chgData name="staehlef.tmb22" userId="S::staehlef.tmb22@student.dhbw-heidenheim.de::737d0583-0f84-4afa-9d32-9dff97d0f705" providerId="AD" clId="Web-{A2735869-A166-1AE8-5D3F-72BE3D0AC2A0}" dt="2025-04-22T12:46:40.846" v="324"/>
          <ac:spMkLst>
            <pc:docMk/>
            <pc:sldMk cId="1591261179" sldId="685"/>
            <ac:spMk id="24" creationId="{BBC01485-20A3-AE71-D2DA-A7B6388CA7A5}"/>
          </ac:spMkLst>
        </pc:spChg>
        <pc:spChg chg="add mod">
          <ac:chgData name="staehlef.tmb22" userId="S::staehlef.tmb22@student.dhbw-heidenheim.de::737d0583-0f84-4afa-9d32-9dff97d0f705" providerId="AD" clId="Web-{A2735869-A166-1AE8-5D3F-72BE3D0AC2A0}" dt="2025-04-22T12:57:14.008" v="404" actId="1076"/>
          <ac:spMkLst>
            <pc:docMk/>
            <pc:sldMk cId="1591261179" sldId="685"/>
            <ac:spMk id="25" creationId="{F1A6E4DF-2F8B-27B7-AACA-0440BA793F24}"/>
          </ac:spMkLst>
        </pc:spChg>
        <pc:spChg chg="add mod">
          <ac:chgData name="staehlef.tmb22" userId="S::staehlef.tmb22@student.dhbw-heidenheim.de::737d0583-0f84-4afa-9d32-9dff97d0f705" providerId="AD" clId="Web-{A2735869-A166-1AE8-5D3F-72BE3D0AC2A0}" dt="2025-04-22T13:02:15.143" v="469"/>
          <ac:spMkLst>
            <pc:docMk/>
            <pc:sldMk cId="1591261179" sldId="685"/>
            <ac:spMk id="26" creationId="{76572C01-B7AD-1700-E2FE-1B7BD6FAF750}"/>
          </ac:spMkLst>
        </pc:spChg>
        <pc:spChg chg="add">
          <ac:chgData name="staehlef.tmb22" userId="S::staehlef.tmb22@student.dhbw-heidenheim.de::737d0583-0f84-4afa-9d32-9dff97d0f705" providerId="AD" clId="Web-{A2735869-A166-1AE8-5D3F-72BE3D0AC2A0}" dt="2025-04-22T12:51:55.279" v="367"/>
          <ac:spMkLst>
            <pc:docMk/>
            <pc:sldMk cId="1591261179" sldId="685"/>
            <ac:spMk id="27" creationId="{E2E79DB0-34F9-ED04-CA88-590939C78CE8}"/>
          </ac:spMkLst>
        </pc:spChg>
        <pc:spChg chg="add mod">
          <ac:chgData name="staehlef.tmb22" userId="S::staehlef.tmb22@student.dhbw-heidenheim.de::737d0583-0f84-4afa-9d32-9dff97d0f705" providerId="AD" clId="Web-{A2735869-A166-1AE8-5D3F-72BE3D0AC2A0}" dt="2025-04-22T12:54:09.158" v="388" actId="1076"/>
          <ac:spMkLst>
            <pc:docMk/>
            <pc:sldMk cId="1591261179" sldId="685"/>
            <ac:spMk id="29" creationId="{9B075126-FA54-DE43-034E-01E42AF0F8FE}"/>
          </ac:spMkLst>
        </pc:spChg>
        <pc:spChg chg="add mod">
          <ac:chgData name="staehlef.tmb22" userId="S::staehlef.tmb22@student.dhbw-heidenheim.de::737d0583-0f84-4afa-9d32-9dff97d0f705" providerId="AD" clId="Web-{A2735869-A166-1AE8-5D3F-72BE3D0AC2A0}" dt="2025-04-22T13:17:47.081" v="486" actId="1076"/>
          <ac:spMkLst>
            <pc:docMk/>
            <pc:sldMk cId="1591261179" sldId="685"/>
            <ac:spMk id="32" creationId="{43227A0B-74D5-CBAC-B3F4-46186CFA9353}"/>
          </ac:spMkLst>
        </pc:spChg>
        <pc:spChg chg="add mod">
          <ac:chgData name="staehlef.tmb22" userId="S::staehlef.tmb22@student.dhbw-heidenheim.de::737d0583-0f84-4afa-9d32-9dff97d0f705" providerId="AD" clId="Web-{A2735869-A166-1AE8-5D3F-72BE3D0AC2A0}" dt="2025-04-22T13:03:00.723" v="478" actId="1076"/>
          <ac:spMkLst>
            <pc:docMk/>
            <pc:sldMk cId="1591261179" sldId="685"/>
            <ac:spMk id="33" creationId="{957B4BAE-7ACC-C733-0952-1C84FFB63E37}"/>
          </ac:spMkLst>
        </pc:spChg>
        <pc:spChg chg="add mod">
          <ac:chgData name="staehlef.tmb22" userId="S::staehlef.tmb22@student.dhbw-heidenheim.de::737d0583-0f84-4afa-9d32-9dff97d0f705" providerId="AD" clId="Web-{A2735869-A166-1AE8-5D3F-72BE3D0AC2A0}" dt="2025-04-22T13:02:46.004" v="476" actId="14100"/>
          <ac:spMkLst>
            <pc:docMk/>
            <pc:sldMk cId="1591261179" sldId="685"/>
            <ac:spMk id="34" creationId="{19B91385-3C0A-3E44-5412-E108C9CC604C}"/>
          </ac:spMkLst>
        </pc:spChg>
        <pc:picChg chg="mod">
          <ac:chgData name="staehlef.tmb22" userId="S::staehlef.tmb22@student.dhbw-heidenheim.de::737d0583-0f84-4afa-9d32-9dff97d0f705" providerId="AD" clId="Web-{A2735869-A166-1AE8-5D3F-72BE3D0AC2A0}" dt="2025-04-22T13:04:43.008" v="484"/>
          <ac:picMkLst>
            <pc:docMk/>
            <pc:sldMk cId="1591261179" sldId="685"/>
            <ac:picMk id="12" creationId="{094049A1-4DBF-7D55-CD85-6E8AEB684FF4}"/>
          </ac:picMkLst>
        </pc:picChg>
        <pc:picChg chg="mod">
          <ac:chgData name="staehlef.tmb22" userId="S::staehlef.tmb22@student.dhbw-heidenheim.de::737d0583-0f84-4afa-9d32-9dff97d0f705" providerId="AD" clId="Web-{A2735869-A166-1AE8-5D3F-72BE3D0AC2A0}" dt="2025-04-22T13:04:28.507" v="483" actId="1076"/>
          <ac:picMkLst>
            <pc:docMk/>
            <pc:sldMk cId="1591261179" sldId="685"/>
            <ac:picMk id="18" creationId="{531AE1AD-04DC-6518-3E4A-A8224ADD736A}"/>
          </ac:picMkLst>
        </pc:picChg>
        <pc:cxnChg chg="add mod">
          <ac:chgData name="staehlef.tmb22" userId="S::staehlef.tmb22@student.dhbw-heidenheim.de::737d0583-0f84-4afa-9d32-9dff97d0f705" providerId="AD" clId="Web-{A2735869-A166-1AE8-5D3F-72BE3D0AC2A0}" dt="2025-04-22T12:32:31.864" v="210"/>
          <ac:cxnSpMkLst>
            <pc:docMk/>
            <pc:sldMk cId="1591261179" sldId="685"/>
            <ac:cxnSpMk id="4" creationId="{0A36BFF9-84C8-5976-0417-AF2707CB7C75}"/>
          </ac:cxnSpMkLst>
        </pc:cxnChg>
        <pc:cxnChg chg="add mod">
          <ac:chgData name="staehlef.tmb22" userId="S::staehlef.tmb22@student.dhbw-heidenheim.de::737d0583-0f84-4afa-9d32-9dff97d0f705" providerId="AD" clId="Web-{A2735869-A166-1AE8-5D3F-72BE3D0AC2A0}" dt="2025-04-22T12:51:44.935" v="365" actId="1076"/>
          <ac:cxnSpMkLst>
            <pc:docMk/>
            <pc:sldMk cId="1591261179" sldId="685"/>
            <ac:cxnSpMk id="7" creationId="{C652A67B-CE86-9130-F392-9936CB1F871E}"/>
          </ac:cxnSpMkLst>
        </pc:cxnChg>
        <pc:cxnChg chg="add mod">
          <ac:chgData name="staehlef.tmb22" userId="S::staehlef.tmb22@student.dhbw-heidenheim.de::737d0583-0f84-4afa-9d32-9dff97d0f705" providerId="AD" clId="Web-{A2735869-A166-1AE8-5D3F-72BE3D0AC2A0}" dt="2025-04-22T12:38:48.129" v="260" actId="14100"/>
          <ac:cxnSpMkLst>
            <pc:docMk/>
            <pc:sldMk cId="1591261179" sldId="685"/>
            <ac:cxnSpMk id="10" creationId="{02E487C2-CB04-1A5B-BA88-D6BADF08CDFF}"/>
          </ac:cxnSpMkLst>
        </pc:cxnChg>
        <pc:cxnChg chg="add mod">
          <ac:chgData name="staehlef.tmb22" userId="S::staehlef.tmb22@student.dhbw-heidenheim.de::737d0583-0f84-4afa-9d32-9dff97d0f705" providerId="AD" clId="Web-{A2735869-A166-1AE8-5D3F-72BE3D0AC2A0}" dt="2025-04-22T12:49:21.977" v="346"/>
          <ac:cxnSpMkLst>
            <pc:docMk/>
            <pc:sldMk cId="1591261179" sldId="685"/>
            <ac:cxnSpMk id="11" creationId="{94DBCBE8-9FDD-571B-A155-5B005766F4CD}"/>
          </ac:cxnSpMkLst>
        </pc:cxnChg>
        <pc:cxnChg chg="add mod">
          <ac:chgData name="staehlef.tmb22" userId="S::staehlef.tmb22@student.dhbw-heidenheim.de::737d0583-0f84-4afa-9d32-9dff97d0f705" providerId="AD" clId="Web-{A2735869-A166-1AE8-5D3F-72BE3D0AC2A0}" dt="2025-04-22T12:56:57.461" v="401" actId="14100"/>
          <ac:cxnSpMkLst>
            <pc:docMk/>
            <pc:sldMk cId="1591261179" sldId="685"/>
            <ac:cxnSpMk id="16" creationId="{1BDB20A7-76D2-B020-A405-0EA1F98F1189}"/>
          </ac:cxnSpMkLst>
        </pc:cxnChg>
        <pc:cxnChg chg="add mod">
          <ac:chgData name="staehlef.tmb22" userId="S::staehlef.tmb22@student.dhbw-heidenheim.de::737d0583-0f84-4afa-9d32-9dff97d0f705" providerId="AD" clId="Web-{A2735869-A166-1AE8-5D3F-72BE3D0AC2A0}" dt="2025-04-22T12:56:32.522" v="399" actId="14100"/>
          <ac:cxnSpMkLst>
            <pc:docMk/>
            <pc:sldMk cId="1591261179" sldId="685"/>
            <ac:cxnSpMk id="17" creationId="{CCA6BD91-9134-BC07-2290-B0490BFB00F9}"/>
          </ac:cxnSpMkLst>
        </pc:cxnChg>
        <pc:cxnChg chg="add mod">
          <ac:chgData name="staehlef.tmb22" userId="S::staehlef.tmb22@student.dhbw-heidenheim.de::737d0583-0f84-4afa-9d32-9dff97d0f705" providerId="AD" clId="Web-{A2735869-A166-1AE8-5D3F-72BE3D0AC2A0}" dt="2025-04-22T12:44:10.140" v="304"/>
          <ac:cxnSpMkLst>
            <pc:docMk/>
            <pc:sldMk cId="1591261179" sldId="685"/>
            <ac:cxnSpMk id="22" creationId="{BD1D31A6-F537-839F-14D1-2E8893614DB8}"/>
          </ac:cxnSpMkLst>
        </pc:cxnChg>
        <pc:cxnChg chg="add mod">
          <ac:chgData name="staehlef.tmb22" userId="S::staehlef.tmb22@student.dhbw-heidenheim.de::737d0583-0f84-4afa-9d32-9dff97d0f705" providerId="AD" clId="Web-{A2735869-A166-1AE8-5D3F-72BE3D0AC2A0}" dt="2025-04-22T12:55:04.066" v="393" actId="14100"/>
          <ac:cxnSpMkLst>
            <pc:docMk/>
            <pc:sldMk cId="1591261179" sldId="685"/>
            <ac:cxnSpMk id="23" creationId="{EADB27B9-6B93-A172-D555-89B523E96D23}"/>
          </ac:cxnSpMkLst>
        </pc:cxnChg>
      </pc:sldChg>
    </pc:docChg>
  </pc:docChgLst>
  <pc:docChgLst>
    <pc:chgData name="seiboldf.tmb22" userId="S::seiboldf.tmb22@student.dhbw-heidenheim.de::df3edf2f-3342-4456-80d3-fdc875e3af8c" providerId="AD" clId="Web-{E83AB1E0-3D5E-707F-06F1-0775E017AF3E}"/>
    <pc:docChg chg="modSld">
      <pc:chgData name="seiboldf.tmb22" userId="S::seiboldf.tmb22@student.dhbw-heidenheim.de::df3edf2f-3342-4456-80d3-fdc875e3af8c" providerId="AD" clId="Web-{E83AB1E0-3D5E-707F-06F1-0775E017AF3E}" dt="2025-04-01T11:11:20.356" v="13"/>
      <pc:docMkLst>
        <pc:docMk/>
      </pc:docMkLst>
      <pc:sldChg chg="addSp delSp">
        <pc:chgData name="seiboldf.tmb22" userId="S::seiboldf.tmb22@student.dhbw-heidenheim.de::df3edf2f-3342-4456-80d3-fdc875e3af8c" providerId="AD" clId="Web-{E83AB1E0-3D5E-707F-06F1-0775E017AF3E}" dt="2025-04-01T11:11:20.356" v="13"/>
        <pc:sldMkLst>
          <pc:docMk/>
          <pc:sldMk cId="2756117336" sldId="630"/>
        </pc:sldMkLst>
      </pc:sldChg>
    </pc:docChg>
  </pc:docChgLst>
  <pc:docChgLst>
    <pc:chgData name="bullingerm.tmt22" userId="S::bullingerm.tmt22@student.dhbw-heidenheim.de::9ce3b8b2-035f-4175-b301-998b03a50e38" providerId="AD" clId="Web-{F129EB6E-CF15-603E-CB24-D663C5CC0FC8}"/>
    <pc:docChg chg="modSld">
      <pc:chgData name="bullingerm.tmt22" userId="S::bullingerm.tmt22@student.dhbw-heidenheim.de::9ce3b8b2-035f-4175-b301-998b03a50e38" providerId="AD" clId="Web-{F129EB6E-CF15-603E-CB24-D663C5CC0FC8}" dt="2025-04-22T12:58:39.921" v="1" actId="1076"/>
      <pc:docMkLst>
        <pc:docMk/>
      </pc:docMkLst>
      <pc:sldChg chg="addSp modSp">
        <pc:chgData name="bullingerm.tmt22" userId="S::bullingerm.tmt22@student.dhbw-heidenheim.de::9ce3b8b2-035f-4175-b301-998b03a50e38" providerId="AD" clId="Web-{F129EB6E-CF15-603E-CB24-D663C5CC0FC8}" dt="2025-04-22T12:58:39.921" v="1" actId="1076"/>
        <pc:sldMkLst>
          <pc:docMk/>
          <pc:sldMk cId="1591261179" sldId="685"/>
        </pc:sldMkLst>
      </pc:sldChg>
    </pc:docChg>
  </pc:docChgLst>
  <pc:docChgLst>
    <pc:chgData name="staehlef.tmb22" userId="737d0583-0f84-4afa-9d32-9dff97d0f705" providerId="ADAL" clId="{9C1749FF-DA83-4818-A4C6-715A943AAFE4}"/>
    <pc:docChg chg="addSld modSld">
      <pc:chgData name="staehlef.tmb22" userId="737d0583-0f84-4afa-9d32-9dff97d0f705" providerId="ADAL" clId="{9C1749FF-DA83-4818-A4C6-715A943AAFE4}" dt="2025-04-22T09:16:36.845" v="85" actId="20577"/>
      <pc:docMkLst>
        <pc:docMk/>
      </pc:docMkLst>
      <pc:sldChg chg="modSp add">
        <pc:chgData name="staehlef.tmb22" userId="737d0583-0f84-4afa-9d32-9dff97d0f705" providerId="ADAL" clId="{9C1749FF-DA83-4818-A4C6-715A943AAFE4}" dt="2025-04-22T09:16:36.845" v="85" actId="20577"/>
        <pc:sldMkLst>
          <pc:docMk/>
          <pc:sldMk cId="3126125948" sldId="658"/>
        </pc:sldMkLst>
        <pc:spChg chg="mod">
          <ac:chgData name="staehlef.tmb22" userId="737d0583-0f84-4afa-9d32-9dff97d0f705" providerId="ADAL" clId="{9C1749FF-DA83-4818-A4C6-715A943AAFE4}" dt="2025-04-22T09:16:12.357" v="50" actId="20577"/>
          <ac:spMkLst>
            <pc:docMk/>
            <pc:sldMk cId="3126125948" sldId="658"/>
            <ac:spMk id="2" creationId="{2B70D616-D355-4734-BB51-98BCE84E548A}"/>
          </ac:spMkLst>
        </pc:spChg>
        <pc:spChg chg="mod">
          <ac:chgData name="staehlef.tmb22" userId="737d0583-0f84-4afa-9d32-9dff97d0f705" providerId="ADAL" clId="{9C1749FF-DA83-4818-A4C6-715A943AAFE4}" dt="2025-04-22T09:16:36.845" v="85" actId="20577"/>
          <ac:spMkLst>
            <pc:docMk/>
            <pc:sldMk cId="3126125948" sldId="658"/>
            <ac:spMk id="3" creationId="{2144FFC8-DE29-4341-806C-C7A4DC54F14A}"/>
          </ac:spMkLst>
        </pc:spChg>
      </pc:sldChg>
    </pc:docChg>
  </pc:docChgLst>
  <pc:docChgLst>
    <pc:chgData name="reilec.tmb22" userId="S::reilec.tmb22@student.dhbw-heidenheim.de::0b7e6988-e521-4a1e-900b-efd6b80549e1" providerId="AD" clId="Web-{47697E8B-06FD-7C3F-CB4F-3BC359873C4C}"/>
    <pc:docChg chg="addSld delSld modSld modSection">
      <pc:chgData name="reilec.tmb22" userId="S::reilec.tmb22@student.dhbw-heidenheim.de::0b7e6988-e521-4a1e-900b-efd6b80549e1" providerId="AD" clId="Web-{47697E8B-06FD-7C3F-CB4F-3BC359873C4C}" dt="2025-04-22T12:02:27.562" v="66" actId="20577"/>
      <pc:docMkLst>
        <pc:docMk/>
      </pc:docMkLst>
      <pc:sldChg chg="modSp">
        <pc:chgData name="reilec.tmb22" userId="S::reilec.tmb22@student.dhbw-heidenheim.de::0b7e6988-e521-4a1e-900b-efd6b80549e1" providerId="AD" clId="Web-{47697E8B-06FD-7C3F-CB4F-3BC359873C4C}" dt="2025-04-22T10:37:10.569" v="0" actId="20577"/>
        <pc:sldMkLst>
          <pc:docMk/>
          <pc:sldMk cId="3237586983" sldId="647"/>
        </pc:sldMkLst>
        <pc:spChg chg="mod">
          <ac:chgData name="reilec.tmb22" userId="S::reilec.tmb22@student.dhbw-heidenheim.de::0b7e6988-e521-4a1e-900b-efd6b80549e1" providerId="AD" clId="Web-{47697E8B-06FD-7C3F-CB4F-3BC359873C4C}" dt="2025-04-22T10:37:10.569" v="0" actId="20577"/>
          <ac:spMkLst>
            <pc:docMk/>
            <pc:sldMk cId="3237586983" sldId="647"/>
            <ac:spMk id="55" creationId="{41F3B666-4D75-FA7C-B5D3-C290B0BB523C}"/>
          </ac:spMkLst>
        </pc:spChg>
      </pc:sldChg>
      <pc:sldChg chg="addSp delSp modSp del">
        <pc:chgData name="reilec.tmb22" userId="S::reilec.tmb22@student.dhbw-heidenheim.de::0b7e6988-e521-4a1e-900b-efd6b80549e1" providerId="AD" clId="Web-{47697E8B-06FD-7C3F-CB4F-3BC359873C4C}" dt="2025-04-22T11:26:48.134" v="9"/>
        <pc:sldMkLst>
          <pc:docMk/>
          <pc:sldMk cId="1275637943" sldId="666"/>
        </pc:sldMkLst>
      </pc:sldChg>
      <pc:sldChg chg="addSp delSp modSp">
        <pc:chgData name="reilec.tmb22" userId="S::reilec.tmb22@student.dhbw-heidenheim.de::0b7e6988-e521-4a1e-900b-efd6b80549e1" providerId="AD" clId="Web-{47697E8B-06FD-7C3F-CB4F-3BC359873C4C}" dt="2025-04-22T11:33:51.463" v="65" actId="1076"/>
        <pc:sldMkLst>
          <pc:docMk/>
          <pc:sldMk cId="861624178" sldId="667"/>
        </pc:sldMkLst>
        <pc:spChg chg="mod">
          <ac:chgData name="reilec.tmb22" userId="S::reilec.tmb22@student.dhbw-heidenheim.de::0b7e6988-e521-4a1e-900b-efd6b80549e1" providerId="AD" clId="Web-{47697E8B-06FD-7C3F-CB4F-3BC359873C4C}" dt="2025-04-22T11:31:10.113" v="56" actId="20577"/>
          <ac:spMkLst>
            <pc:docMk/>
            <pc:sldMk cId="861624178" sldId="667"/>
            <ac:spMk id="6" creationId="{E341A793-F460-43BE-93DF-D8C003D5736C}"/>
          </ac:spMkLst>
        </pc:spChg>
        <pc:picChg chg="add mod modCrop">
          <ac:chgData name="reilec.tmb22" userId="S::reilec.tmb22@student.dhbw-heidenheim.de::0b7e6988-e521-4a1e-900b-efd6b80549e1" providerId="AD" clId="Web-{47697E8B-06FD-7C3F-CB4F-3BC359873C4C}" dt="2025-04-22T11:33:51.463" v="65" actId="1076"/>
          <ac:picMkLst>
            <pc:docMk/>
            <pc:sldMk cId="861624178" sldId="667"/>
            <ac:picMk id="2" creationId="{BD858A9D-17CE-9D22-E6B2-F762E83009D8}"/>
          </ac:picMkLst>
        </pc:picChg>
      </pc:sldChg>
      <pc:sldChg chg="modSp">
        <pc:chgData name="reilec.tmb22" userId="S::reilec.tmb22@student.dhbw-heidenheim.de::0b7e6988-e521-4a1e-900b-efd6b80549e1" providerId="AD" clId="Web-{47697E8B-06FD-7C3F-CB4F-3BC359873C4C}" dt="2025-04-22T11:27:02.228" v="21" actId="20577"/>
        <pc:sldMkLst>
          <pc:docMk/>
          <pc:sldMk cId="544195729" sldId="670"/>
        </pc:sldMkLst>
      </pc:sldChg>
      <pc:sldChg chg="modSp add replId">
        <pc:chgData name="reilec.tmb22" userId="S::reilec.tmb22@student.dhbw-heidenheim.de::0b7e6988-e521-4a1e-900b-efd6b80549e1" providerId="AD" clId="Web-{47697E8B-06FD-7C3F-CB4F-3BC359873C4C}" dt="2025-04-22T12:02:27.562" v="66" actId="20577"/>
        <pc:sldMkLst>
          <pc:docMk/>
          <pc:sldMk cId="775585486" sldId="677"/>
        </pc:sldMkLst>
        <pc:spChg chg="mod">
          <ac:chgData name="reilec.tmb22" userId="S::reilec.tmb22@student.dhbw-heidenheim.de::0b7e6988-e521-4a1e-900b-efd6b80549e1" providerId="AD" clId="Web-{47697E8B-06FD-7C3F-CB4F-3BC359873C4C}" dt="2025-04-22T12:02:27.562" v="66" actId="20577"/>
          <ac:spMkLst>
            <pc:docMk/>
            <pc:sldMk cId="775585486" sldId="677"/>
            <ac:spMk id="20" creationId="{669AD735-F4E6-AF72-5B30-0A808C778584}"/>
          </ac:spMkLst>
        </pc:spChg>
      </pc:sldChg>
    </pc:docChg>
  </pc:docChgLst>
  <pc:docChgLst>
    <pc:chgData name="bullingerm.tmt22" userId="S::bullingerm.tmt22@student.dhbw-heidenheim.de::9ce3b8b2-035f-4175-b301-998b03a50e38" providerId="AD" clId="Web-{F2BE7605-B8FE-FDFB-2E3A-A835A235D5A8}"/>
    <pc:docChg chg="modSld">
      <pc:chgData name="bullingerm.tmt22" userId="S::bullingerm.tmt22@student.dhbw-heidenheim.de::9ce3b8b2-035f-4175-b301-998b03a50e38" providerId="AD" clId="Web-{F2BE7605-B8FE-FDFB-2E3A-A835A235D5A8}" dt="2025-04-22T09:32:35.106" v="1" actId="14100"/>
      <pc:docMkLst>
        <pc:docMk/>
      </pc:docMkLst>
      <pc:sldChg chg="modSp">
        <pc:chgData name="bullingerm.tmt22" userId="S::bullingerm.tmt22@student.dhbw-heidenheim.de::9ce3b8b2-035f-4175-b301-998b03a50e38" providerId="AD" clId="Web-{F2BE7605-B8FE-FDFB-2E3A-A835A235D5A8}" dt="2025-04-22T09:32:35.106" v="1" actId="14100"/>
        <pc:sldMkLst>
          <pc:docMk/>
          <pc:sldMk cId="46571281" sldId="654"/>
        </pc:sldMkLst>
        <pc:spChg chg="mod">
          <ac:chgData name="bullingerm.tmt22" userId="S::bullingerm.tmt22@student.dhbw-heidenheim.de::9ce3b8b2-035f-4175-b301-998b03a50e38" providerId="AD" clId="Web-{F2BE7605-B8FE-FDFB-2E3A-A835A235D5A8}" dt="2025-04-22T09:32:35.106" v="1" actId="14100"/>
          <ac:spMkLst>
            <pc:docMk/>
            <pc:sldMk cId="46571281" sldId="654"/>
            <ac:spMk id="33" creationId="{2354F77B-8950-49AC-8086-F7CF332EAF6D}"/>
          </ac:spMkLst>
        </pc:spChg>
        <pc:spChg chg="mod">
          <ac:chgData name="bullingerm.tmt22" userId="S::bullingerm.tmt22@student.dhbw-heidenheim.de::9ce3b8b2-035f-4175-b301-998b03a50e38" providerId="AD" clId="Web-{F2BE7605-B8FE-FDFB-2E3A-A835A235D5A8}" dt="2025-04-22T09:32:29.168" v="0" actId="14100"/>
          <ac:spMkLst>
            <pc:docMk/>
            <pc:sldMk cId="46571281" sldId="654"/>
            <ac:spMk id="34" creationId="{620438B8-8E19-4748-AE45-91CCA4D4F0D4}"/>
          </ac:spMkLst>
        </pc:spChg>
      </pc:sldChg>
    </pc:docChg>
  </pc:docChgLst>
  <pc:docChgLst>
    <pc:chgData name="seiboldf.tmb22" userId="df3edf2f-3342-4456-80d3-fdc875e3af8c" providerId="ADAL" clId="{A1CAE88D-4026-0E41-BECA-B9AB9E6A7219}"/>
    <pc:docChg chg="undo custSel addSld modSld modSection">
      <pc:chgData name="seiboldf.tmb22" userId="df3edf2f-3342-4456-80d3-fdc875e3af8c" providerId="ADAL" clId="{A1CAE88D-4026-0E41-BECA-B9AB9E6A7219}" dt="2025-04-01T11:49:21.366" v="269" actId="1076"/>
      <pc:docMkLst>
        <pc:docMk/>
      </pc:docMkLst>
      <pc:sldChg chg="modSp">
        <pc:chgData name="seiboldf.tmb22" userId="df3edf2f-3342-4456-80d3-fdc875e3af8c" providerId="ADAL" clId="{A1CAE88D-4026-0E41-BECA-B9AB9E6A7219}" dt="2025-04-01T11:32:13.989" v="250" actId="20577"/>
        <pc:sldMkLst>
          <pc:docMk/>
          <pc:sldMk cId="1339647628" sldId="586"/>
        </pc:sldMkLst>
      </pc:sldChg>
      <pc:sldChg chg="addSp modSp">
        <pc:chgData name="seiboldf.tmb22" userId="df3edf2f-3342-4456-80d3-fdc875e3af8c" providerId="ADAL" clId="{A1CAE88D-4026-0E41-BECA-B9AB9E6A7219}" dt="2025-04-01T11:15:55.726" v="129" actId="20577"/>
        <pc:sldMkLst>
          <pc:docMk/>
          <pc:sldMk cId="2756117336" sldId="630"/>
        </pc:sldMkLst>
      </pc:sldChg>
      <pc:sldChg chg="addSp delSp modSp">
        <pc:chgData name="seiboldf.tmb22" userId="df3edf2f-3342-4456-80d3-fdc875e3af8c" providerId="ADAL" clId="{A1CAE88D-4026-0E41-BECA-B9AB9E6A7219}" dt="2025-04-01T11:43:27.089" v="256" actId="1076"/>
        <pc:sldMkLst>
          <pc:docMk/>
          <pc:sldMk cId="3905572149" sldId="633"/>
        </pc:sldMkLst>
      </pc:sldChg>
      <pc:sldChg chg="addSp delSp modSp">
        <pc:chgData name="seiboldf.tmb22" userId="df3edf2f-3342-4456-80d3-fdc875e3af8c" providerId="ADAL" clId="{A1CAE88D-4026-0E41-BECA-B9AB9E6A7219}" dt="2025-04-01T11:49:21.366" v="269" actId="1076"/>
        <pc:sldMkLst>
          <pc:docMk/>
          <pc:sldMk cId="3525816418" sldId="634"/>
        </pc:sldMkLst>
      </pc:sldChg>
    </pc:docChg>
  </pc:docChgLst>
  <pc:docChgLst>
    <pc:chgData name="Hannes Maurer" userId="7aa1423c-8795-49e0-8989-d53f8102476c" providerId="ADAL" clId="{EB2F38F5-5EB9-4782-9C23-0FD2ADCE9FC7}"/>
    <pc:docChg chg="undo custSel addSld delSld modSld modSection">
      <pc:chgData name="Hannes Maurer" userId="7aa1423c-8795-49e0-8989-d53f8102476c" providerId="ADAL" clId="{EB2F38F5-5EB9-4782-9C23-0FD2ADCE9FC7}" dt="2025-04-22T13:24:48.893" v="1211" actId="20577"/>
      <pc:docMkLst>
        <pc:docMk/>
      </pc:docMkLst>
      <pc:sldChg chg="modSp">
        <pc:chgData name="Hannes Maurer" userId="7aa1423c-8795-49e0-8989-d53f8102476c" providerId="ADAL" clId="{EB2F38F5-5EB9-4782-9C23-0FD2ADCE9FC7}" dt="2025-04-22T12:42:47.053" v="603" actId="20577"/>
        <pc:sldMkLst>
          <pc:docMk/>
          <pc:sldMk cId="3664439336" sldId="262"/>
        </pc:sldMkLst>
        <pc:spChg chg="mod">
          <ac:chgData name="Hannes Maurer" userId="7aa1423c-8795-49e0-8989-d53f8102476c" providerId="ADAL" clId="{EB2F38F5-5EB9-4782-9C23-0FD2ADCE9FC7}" dt="2025-04-22T12:42:47.053" v="603" actId="20577"/>
          <ac:spMkLst>
            <pc:docMk/>
            <pc:sldMk cId="3664439336" sldId="262"/>
            <ac:spMk id="14" creationId="{C0024835-3B3D-40D8-8601-9961D5A4F2F4}"/>
          </ac:spMkLst>
        </pc:spChg>
      </pc:sldChg>
      <pc:sldChg chg="del">
        <pc:chgData name="Hannes Maurer" userId="7aa1423c-8795-49e0-8989-d53f8102476c" providerId="ADAL" clId="{EB2F38F5-5EB9-4782-9C23-0FD2ADCE9FC7}" dt="2025-04-22T13:18:07.618" v="1088" actId="2696"/>
        <pc:sldMkLst>
          <pc:docMk/>
          <pc:sldMk cId="1165364471" sldId="653"/>
        </pc:sldMkLst>
      </pc:sldChg>
      <pc:sldChg chg="addSp delSp modSp del">
        <pc:chgData name="Hannes Maurer" userId="7aa1423c-8795-49e0-8989-d53f8102476c" providerId="ADAL" clId="{EB2F38F5-5EB9-4782-9C23-0FD2ADCE9FC7}" dt="2025-04-22T13:12:19.449" v="1087" actId="2696"/>
        <pc:sldMkLst>
          <pc:docMk/>
          <pc:sldMk cId="3452969880" sldId="656"/>
        </pc:sldMkLst>
      </pc:sldChg>
      <pc:sldChg chg="addSp modSp">
        <pc:chgData name="Hannes Maurer" userId="7aa1423c-8795-49e0-8989-d53f8102476c" providerId="ADAL" clId="{EB2F38F5-5EB9-4782-9C23-0FD2ADCE9FC7}" dt="2025-04-22T12:13:27.170" v="93" actId="1076"/>
        <pc:sldMkLst>
          <pc:docMk/>
          <pc:sldMk cId="3106000447" sldId="678"/>
        </pc:sldMkLst>
        <pc:graphicFrameChg chg="add mod modGraphic">
          <ac:chgData name="Hannes Maurer" userId="7aa1423c-8795-49e0-8989-d53f8102476c" providerId="ADAL" clId="{EB2F38F5-5EB9-4782-9C23-0FD2ADCE9FC7}" dt="2025-04-22T12:13:22.259" v="91" actId="1076"/>
          <ac:graphicFrameMkLst>
            <pc:docMk/>
            <pc:sldMk cId="3106000447" sldId="678"/>
            <ac:graphicFrameMk id="7" creationId="{21AFBF90-C534-4E50-AE0B-4BF0D0CA8F79}"/>
          </ac:graphicFrameMkLst>
        </pc:graphicFrameChg>
        <pc:graphicFrameChg chg="add mod modGraphic">
          <ac:chgData name="Hannes Maurer" userId="7aa1423c-8795-49e0-8989-d53f8102476c" providerId="ADAL" clId="{EB2F38F5-5EB9-4782-9C23-0FD2ADCE9FC7}" dt="2025-04-22T12:13:27.170" v="93" actId="1076"/>
          <ac:graphicFrameMkLst>
            <pc:docMk/>
            <pc:sldMk cId="3106000447" sldId="678"/>
            <ac:graphicFrameMk id="8" creationId="{67CBF825-0946-4F89-9D3F-4B9B72DA03BE}"/>
          </ac:graphicFrameMkLst>
        </pc:graphicFrameChg>
      </pc:sldChg>
      <pc:sldChg chg="addSp delSp modSp">
        <pc:chgData name="Hannes Maurer" userId="7aa1423c-8795-49e0-8989-d53f8102476c" providerId="ADAL" clId="{EB2F38F5-5EB9-4782-9C23-0FD2ADCE9FC7}" dt="2025-04-22T12:57:45.660" v="824" actId="20577"/>
        <pc:sldMkLst>
          <pc:docMk/>
          <pc:sldMk cId="1916272374" sldId="679"/>
        </pc:sldMkLst>
        <pc:spChg chg="add mod">
          <ac:chgData name="Hannes Maurer" userId="7aa1423c-8795-49e0-8989-d53f8102476c" providerId="ADAL" clId="{EB2F38F5-5EB9-4782-9C23-0FD2ADCE9FC7}" dt="2025-04-22T12:38:29.068" v="427" actId="1076"/>
          <ac:spMkLst>
            <pc:docMk/>
            <pc:sldMk cId="1916272374" sldId="679"/>
            <ac:spMk id="9" creationId="{0E6CAF53-6FCE-4E21-800A-6C1AB42E74BF}"/>
          </ac:spMkLst>
        </pc:spChg>
        <pc:spChg chg="add mod">
          <ac:chgData name="Hannes Maurer" userId="7aa1423c-8795-49e0-8989-d53f8102476c" providerId="ADAL" clId="{EB2F38F5-5EB9-4782-9C23-0FD2ADCE9FC7}" dt="2025-04-22T12:38:29.068" v="427" actId="1076"/>
          <ac:spMkLst>
            <pc:docMk/>
            <pc:sldMk cId="1916272374" sldId="679"/>
            <ac:spMk id="10" creationId="{D4E60825-7437-46FF-BA7F-6FFC36A25265}"/>
          </ac:spMkLst>
        </pc:spChg>
        <pc:spChg chg="add mod">
          <ac:chgData name="Hannes Maurer" userId="7aa1423c-8795-49e0-8989-d53f8102476c" providerId="ADAL" clId="{EB2F38F5-5EB9-4782-9C23-0FD2ADCE9FC7}" dt="2025-04-22T12:38:29.068" v="427" actId="1076"/>
          <ac:spMkLst>
            <pc:docMk/>
            <pc:sldMk cId="1916272374" sldId="679"/>
            <ac:spMk id="11" creationId="{9B090EAB-AD2E-4FD0-901B-CB085AB7EE9B}"/>
          </ac:spMkLst>
        </pc:spChg>
        <pc:spChg chg="add mod">
          <ac:chgData name="Hannes Maurer" userId="7aa1423c-8795-49e0-8989-d53f8102476c" providerId="ADAL" clId="{EB2F38F5-5EB9-4782-9C23-0FD2ADCE9FC7}" dt="2025-04-22T12:38:29.068" v="427" actId="1076"/>
          <ac:spMkLst>
            <pc:docMk/>
            <pc:sldMk cId="1916272374" sldId="679"/>
            <ac:spMk id="12" creationId="{D12308BF-EA5B-47EC-9E83-16E52D1F8170}"/>
          </ac:spMkLst>
        </pc:spChg>
        <pc:spChg chg="add mod">
          <ac:chgData name="Hannes Maurer" userId="7aa1423c-8795-49e0-8989-d53f8102476c" providerId="ADAL" clId="{EB2F38F5-5EB9-4782-9C23-0FD2ADCE9FC7}" dt="2025-04-22T12:38:29.068" v="427" actId="1076"/>
          <ac:spMkLst>
            <pc:docMk/>
            <pc:sldMk cId="1916272374" sldId="679"/>
            <ac:spMk id="13" creationId="{3F04BB33-70F3-46C4-B0A4-65157CFB869F}"/>
          </ac:spMkLst>
        </pc:spChg>
        <pc:spChg chg="add mod">
          <ac:chgData name="Hannes Maurer" userId="7aa1423c-8795-49e0-8989-d53f8102476c" providerId="ADAL" clId="{EB2F38F5-5EB9-4782-9C23-0FD2ADCE9FC7}" dt="2025-04-22T12:38:29.068" v="427" actId="1076"/>
          <ac:spMkLst>
            <pc:docMk/>
            <pc:sldMk cId="1916272374" sldId="679"/>
            <ac:spMk id="24" creationId="{CC3D0415-381D-4E58-AA79-6074E854B8F3}"/>
          </ac:spMkLst>
        </pc:spChg>
        <pc:spChg chg="add mod">
          <ac:chgData name="Hannes Maurer" userId="7aa1423c-8795-49e0-8989-d53f8102476c" providerId="ADAL" clId="{EB2F38F5-5EB9-4782-9C23-0FD2ADCE9FC7}" dt="2025-04-22T12:38:29.068" v="427" actId="1076"/>
          <ac:spMkLst>
            <pc:docMk/>
            <pc:sldMk cId="1916272374" sldId="679"/>
            <ac:spMk id="25" creationId="{B6E86EFF-1BD0-45CA-BD74-A21F1BEC3812}"/>
          </ac:spMkLst>
        </pc:spChg>
        <pc:spChg chg="add mod">
          <ac:chgData name="Hannes Maurer" userId="7aa1423c-8795-49e0-8989-d53f8102476c" providerId="ADAL" clId="{EB2F38F5-5EB9-4782-9C23-0FD2ADCE9FC7}" dt="2025-04-22T12:38:29.068" v="427" actId="1076"/>
          <ac:spMkLst>
            <pc:docMk/>
            <pc:sldMk cId="1916272374" sldId="679"/>
            <ac:spMk id="26" creationId="{23F32E35-78BB-4811-8678-861F42E7F956}"/>
          </ac:spMkLst>
        </pc:spChg>
        <pc:spChg chg="add mod">
          <ac:chgData name="Hannes Maurer" userId="7aa1423c-8795-49e0-8989-d53f8102476c" providerId="ADAL" clId="{EB2F38F5-5EB9-4782-9C23-0FD2ADCE9FC7}" dt="2025-04-22T12:38:29.068" v="427" actId="1076"/>
          <ac:spMkLst>
            <pc:docMk/>
            <pc:sldMk cId="1916272374" sldId="679"/>
            <ac:spMk id="27" creationId="{F045C2D1-4D47-43EF-AC0D-B7F6D44B6E57}"/>
          </ac:spMkLst>
        </pc:spChg>
        <pc:spChg chg="add mod">
          <ac:chgData name="Hannes Maurer" userId="7aa1423c-8795-49e0-8989-d53f8102476c" providerId="ADAL" clId="{EB2F38F5-5EB9-4782-9C23-0FD2ADCE9FC7}" dt="2025-04-22T12:38:29.068" v="427" actId="1076"/>
          <ac:spMkLst>
            <pc:docMk/>
            <pc:sldMk cId="1916272374" sldId="679"/>
            <ac:spMk id="28" creationId="{2C31584A-8033-4D1C-827F-AF2C2BF2FEB9}"/>
          </ac:spMkLst>
        </pc:spChg>
        <pc:spChg chg="add mod">
          <ac:chgData name="Hannes Maurer" userId="7aa1423c-8795-49e0-8989-d53f8102476c" providerId="ADAL" clId="{EB2F38F5-5EB9-4782-9C23-0FD2ADCE9FC7}" dt="2025-04-22T12:38:29.068" v="427" actId="1076"/>
          <ac:spMkLst>
            <pc:docMk/>
            <pc:sldMk cId="1916272374" sldId="679"/>
            <ac:spMk id="29" creationId="{0C8B30A8-A1BE-40E4-A562-58548F71E334}"/>
          </ac:spMkLst>
        </pc:spChg>
        <pc:spChg chg="add mod">
          <ac:chgData name="Hannes Maurer" userId="7aa1423c-8795-49e0-8989-d53f8102476c" providerId="ADAL" clId="{EB2F38F5-5EB9-4782-9C23-0FD2ADCE9FC7}" dt="2025-04-22T12:38:29.068" v="427" actId="1076"/>
          <ac:spMkLst>
            <pc:docMk/>
            <pc:sldMk cId="1916272374" sldId="679"/>
            <ac:spMk id="30" creationId="{FFF63F36-0433-4057-89F6-C170B0A041FA}"/>
          </ac:spMkLst>
        </pc:spChg>
        <pc:spChg chg="add mod">
          <ac:chgData name="Hannes Maurer" userId="7aa1423c-8795-49e0-8989-d53f8102476c" providerId="ADAL" clId="{EB2F38F5-5EB9-4782-9C23-0FD2ADCE9FC7}" dt="2025-04-22T12:38:29.068" v="427" actId="1076"/>
          <ac:spMkLst>
            <pc:docMk/>
            <pc:sldMk cId="1916272374" sldId="679"/>
            <ac:spMk id="31" creationId="{73067868-09FF-43E0-8CC8-7491C4FCC7A8}"/>
          </ac:spMkLst>
        </pc:spChg>
        <pc:spChg chg="add mod">
          <ac:chgData name="Hannes Maurer" userId="7aa1423c-8795-49e0-8989-d53f8102476c" providerId="ADAL" clId="{EB2F38F5-5EB9-4782-9C23-0FD2ADCE9FC7}" dt="2025-04-22T12:38:29.068" v="427" actId="1076"/>
          <ac:spMkLst>
            <pc:docMk/>
            <pc:sldMk cId="1916272374" sldId="679"/>
            <ac:spMk id="32" creationId="{050B9D80-4051-4EA4-8C97-CF933D1FC74A}"/>
          </ac:spMkLst>
        </pc:spChg>
        <pc:spChg chg="add mod">
          <ac:chgData name="Hannes Maurer" userId="7aa1423c-8795-49e0-8989-d53f8102476c" providerId="ADAL" clId="{EB2F38F5-5EB9-4782-9C23-0FD2ADCE9FC7}" dt="2025-04-22T12:24:58.418" v="186" actId="1076"/>
          <ac:spMkLst>
            <pc:docMk/>
            <pc:sldMk cId="1916272374" sldId="679"/>
            <ac:spMk id="33" creationId="{DED59D1A-B888-456B-B241-AB803A1749F9}"/>
          </ac:spMkLst>
        </pc:spChg>
        <pc:spChg chg="add mod">
          <ac:chgData name="Hannes Maurer" userId="7aa1423c-8795-49e0-8989-d53f8102476c" providerId="ADAL" clId="{EB2F38F5-5EB9-4782-9C23-0FD2ADCE9FC7}" dt="2025-04-22T12:38:35.716" v="428" actId="1076"/>
          <ac:spMkLst>
            <pc:docMk/>
            <pc:sldMk cId="1916272374" sldId="679"/>
            <ac:spMk id="34" creationId="{907CB028-DCF3-41AA-8710-D8BA85A245AB}"/>
          </ac:spMkLst>
        </pc:spChg>
        <pc:spChg chg="add mod">
          <ac:chgData name="Hannes Maurer" userId="7aa1423c-8795-49e0-8989-d53f8102476c" providerId="ADAL" clId="{EB2F38F5-5EB9-4782-9C23-0FD2ADCE9FC7}" dt="2025-04-22T12:38:35.716" v="428" actId="1076"/>
          <ac:spMkLst>
            <pc:docMk/>
            <pc:sldMk cId="1916272374" sldId="679"/>
            <ac:spMk id="35" creationId="{62C201A0-7A0C-44C2-BA6B-EAC7BED6D94D}"/>
          </ac:spMkLst>
        </pc:spChg>
        <pc:spChg chg="add mod">
          <ac:chgData name="Hannes Maurer" userId="7aa1423c-8795-49e0-8989-d53f8102476c" providerId="ADAL" clId="{EB2F38F5-5EB9-4782-9C23-0FD2ADCE9FC7}" dt="2025-04-22T12:38:35.716" v="428" actId="1076"/>
          <ac:spMkLst>
            <pc:docMk/>
            <pc:sldMk cId="1916272374" sldId="679"/>
            <ac:spMk id="36" creationId="{22194739-B4CB-4887-80E1-70E98C5B8799}"/>
          </ac:spMkLst>
        </pc:spChg>
        <pc:spChg chg="add mod">
          <ac:chgData name="Hannes Maurer" userId="7aa1423c-8795-49e0-8989-d53f8102476c" providerId="ADAL" clId="{EB2F38F5-5EB9-4782-9C23-0FD2ADCE9FC7}" dt="2025-04-22T12:52:15.777" v="680" actId="1076"/>
          <ac:spMkLst>
            <pc:docMk/>
            <pc:sldMk cId="1916272374" sldId="679"/>
            <ac:spMk id="37" creationId="{BD57B453-3A97-498B-A91A-8968980BE498}"/>
          </ac:spMkLst>
        </pc:spChg>
        <pc:spChg chg="add mod">
          <ac:chgData name="Hannes Maurer" userId="7aa1423c-8795-49e0-8989-d53f8102476c" providerId="ADAL" clId="{EB2F38F5-5EB9-4782-9C23-0FD2ADCE9FC7}" dt="2025-04-22T12:51:51.880" v="677" actId="1076"/>
          <ac:spMkLst>
            <pc:docMk/>
            <pc:sldMk cId="1916272374" sldId="679"/>
            <ac:spMk id="38" creationId="{D2D99380-8A77-46FC-8DF4-22BEF58F7AE2}"/>
          </ac:spMkLst>
        </pc:spChg>
        <pc:spChg chg="add mod">
          <ac:chgData name="Hannes Maurer" userId="7aa1423c-8795-49e0-8989-d53f8102476c" providerId="ADAL" clId="{EB2F38F5-5EB9-4782-9C23-0FD2ADCE9FC7}" dt="2025-04-22T12:52:20.744" v="681" actId="1076"/>
          <ac:spMkLst>
            <pc:docMk/>
            <pc:sldMk cId="1916272374" sldId="679"/>
            <ac:spMk id="39" creationId="{2A2A3465-C99A-4F91-9C16-5AF7E64361AC}"/>
          </ac:spMkLst>
        </pc:spChg>
        <pc:spChg chg="add mod">
          <ac:chgData name="Hannes Maurer" userId="7aa1423c-8795-49e0-8989-d53f8102476c" providerId="ADAL" clId="{EB2F38F5-5EB9-4782-9C23-0FD2ADCE9FC7}" dt="2025-04-22T12:38:35.716" v="428" actId="1076"/>
          <ac:spMkLst>
            <pc:docMk/>
            <pc:sldMk cId="1916272374" sldId="679"/>
            <ac:spMk id="40" creationId="{5E8D9890-0CE3-4E8A-A3FD-DADC36812966}"/>
          </ac:spMkLst>
        </pc:spChg>
        <pc:spChg chg="add mod">
          <ac:chgData name="Hannes Maurer" userId="7aa1423c-8795-49e0-8989-d53f8102476c" providerId="ADAL" clId="{EB2F38F5-5EB9-4782-9C23-0FD2ADCE9FC7}" dt="2025-04-22T12:52:15.777" v="680" actId="1076"/>
          <ac:spMkLst>
            <pc:docMk/>
            <pc:sldMk cId="1916272374" sldId="679"/>
            <ac:spMk id="41" creationId="{CDC68807-4C7E-41FD-B10D-399D632B2CA9}"/>
          </ac:spMkLst>
        </pc:spChg>
        <pc:spChg chg="add mod">
          <ac:chgData name="Hannes Maurer" userId="7aa1423c-8795-49e0-8989-d53f8102476c" providerId="ADAL" clId="{EB2F38F5-5EB9-4782-9C23-0FD2ADCE9FC7}" dt="2025-04-22T12:51:51.880" v="677" actId="1076"/>
          <ac:spMkLst>
            <pc:docMk/>
            <pc:sldMk cId="1916272374" sldId="679"/>
            <ac:spMk id="42" creationId="{30CC6FDC-011C-4247-A7B4-58F6E48CE947}"/>
          </ac:spMkLst>
        </pc:spChg>
        <pc:spChg chg="add mod">
          <ac:chgData name="Hannes Maurer" userId="7aa1423c-8795-49e0-8989-d53f8102476c" providerId="ADAL" clId="{EB2F38F5-5EB9-4782-9C23-0FD2ADCE9FC7}" dt="2025-04-22T12:38:35.716" v="428" actId="1076"/>
          <ac:spMkLst>
            <pc:docMk/>
            <pc:sldMk cId="1916272374" sldId="679"/>
            <ac:spMk id="43" creationId="{9CF614EA-F38D-48BB-BDC9-8139981E6BDF}"/>
          </ac:spMkLst>
        </pc:spChg>
        <pc:spChg chg="add mod">
          <ac:chgData name="Hannes Maurer" userId="7aa1423c-8795-49e0-8989-d53f8102476c" providerId="ADAL" clId="{EB2F38F5-5EB9-4782-9C23-0FD2ADCE9FC7}" dt="2025-04-22T12:25:47.030" v="192" actId="20577"/>
          <ac:spMkLst>
            <pc:docMk/>
            <pc:sldMk cId="1916272374" sldId="679"/>
            <ac:spMk id="44" creationId="{BAE23ACB-B008-4479-A377-F9B3141AE131}"/>
          </ac:spMkLst>
        </pc:spChg>
        <pc:spChg chg="add mod">
          <ac:chgData name="Hannes Maurer" userId="7aa1423c-8795-49e0-8989-d53f8102476c" providerId="ADAL" clId="{EB2F38F5-5EB9-4782-9C23-0FD2ADCE9FC7}" dt="2025-04-22T12:38:35.716" v="428" actId="1076"/>
          <ac:spMkLst>
            <pc:docMk/>
            <pc:sldMk cId="1916272374" sldId="679"/>
            <ac:spMk id="57" creationId="{9F6F1732-E57B-48B3-A71A-8423F94FE304}"/>
          </ac:spMkLst>
        </pc:spChg>
        <pc:spChg chg="add mod">
          <ac:chgData name="Hannes Maurer" userId="7aa1423c-8795-49e0-8989-d53f8102476c" providerId="ADAL" clId="{EB2F38F5-5EB9-4782-9C23-0FD2ADCE9FC7}" dt="2025-04-22T12:38:35.716" v="428" actId="1076"/>
          <ac:spMkLst>
            <pc:docMk/>
            <pc:sldMk cId="1916272374" sldId="679"/>
            <ac:spMk id="58" creationId="{648C04DA-7DF2-4460-9F4B-B365DC4917F1}"/>
          </ac:spMkLst>
        </pc:spChg>
        <pc:spChg chg="add mod">
          <ac:chgData name="Hannes Maurer" userId="7aa1423c-8795-49e0-8989-d53f8102476c" providerId="ADAL" clId="{EB2F38F5-5EB9-4782-9C23-0FD2ADCE9FC7}" dt="2025-04-22T12:50:00.993" v="673" actId="1076"/>
          <ac:spMkLst>
            <pc:docMk/>
            <pc:sldMk cId="1916272374" sldId="679"/>
            <ac:spMk id="59" creationId="{2BED8017-E6D4-4B9B-AE87-05D05D8BEFC1}"/>
          </ac:spMkLst>
        </pc:spChg>
        <pc:spChg chg="add mod">
          <ac:chgData name="Hannes Maurer" userId="7aa1423c-8795-49e0-8989-d53f8102476c" providerId="ADAL" clId="{EB2F38F5-5EB9-4782-9C23-0FD2ADCE9FC7}" dt="2025-04-22T12:56:13.337" v="744" actId="207"/>
          <ac:spMkLst>
            <pc:docMk/>
            <pc:sldMk cId="1916272374" sldId="679"/>
            <ac:spMk id="60" creationId="{622368D2-8004-4091-8FDB-2C8976587DF9}"/>
          </ac:spMkLst>
        </pc:spChg>
        <pc:spChg chg="add mod">
          <ac:chgData name="Hannes Maurer" userId="7aa1423c-8795-49e0-8989-d53f8102476c" providerId="ADAL" clId="{EB2F38F5-5EB9-4782-9C23-0FD2ADCE9FC7}" dt="2025-04-22T12:42:25.747" v="595" actId="404"/>
          <ac:spMkLst>
            <pc:docMk/>
            <pc:sldMk cId="1916272374" sldId="679"/>
            <ac:spMk id="61" creationId="{C71ED1D8-1BC4-4599-9508-F818830F4ED5}"/>
          </ac:spMkLst>
        </pc:spChg>
        <pc:spChg chg="add mod">
          <ac:chgData name="Hannes Maurer" userId="7aa1423c-8795-49e0-8989-d53f8102476c" providerId="ADAL" clId="{EB2F38F5-5EB9-4782-9C23-0FD2ADCE9FC7}" dt="2025-04-22T12:57:45.660" v="824" actId="20577"/>
          <ac:spMkLst>
            <pc:docMk/>
            <pc:sldMk cId="1916272374" sldId="679"/>
            <ac:spMk id="62" creationId="{3C711AE8-3DE9-4904-9083-25FDD0F7A80D}"/>
          </ac:spMkLst>
        </pc:spChg>
        <pc:cxnChg chg="add mod">
          <ac:chgData name="Hannes Maurer" userId="7aa1423c-8795-49e0-8989-d53f8102476c" providerId="ADAL" clId="{EB2F38F5-5EB9-4782-9C23-0FD2ADCE9FC7}" dt="2025-04-22T12:11:16.420" v="67" actId="1582"/>
          <ac:cxnSpMkLst>
            <pc:docMk/>
            <pc:sldMk cId="1916272374" sldId="679"/>
            <ac:cxnSpMk id="8" creationId="{ED015912-0683-4EE3-8C62-48E54E15A4CD}"/>
          </ac:cxnSpMkLst>
        </pc:cxnChg>
        <pc:cxnChg chg="add mod">
          <ac:chgData name="Hannes Maurer" userId="7aa1423c-8795-49e0-8989-d53f8102476c" providerId="ADAL" clId="{EB2F38F5-5EB9-4782-9C23-0FD2ADCE9FC7}" dt="2025-04-22T12:38:29.068" v="427" actId="1076"/>
          <ac:cxnSpMkLst>
            <pc:docMk/>
            <pc:sldMk cId="1916272374" sldId="679"/>
            <ac:cxnSpMk id="15" creationId="{A74B7165-1848-4577-9040-6F6539014663}"/>
          </ac:cxnSpMkLst>
        </pc:cxnChg>
        <pc:cxnChg chg="add mod">
          <ac:chgData name="Hannes Maurer" userId="7aa1423c-8795-49e0-8989-d53f8102476c" providerId="ADAL" clId="{EB2F38F5-5EB9-4782-9C23-0FD2ADCE9FC7}" dt="2025-04-22T12:38:29.068" v="427" actId="1076"/>
          <ac:cxnSpMkLst>
            <pc:docMk/>
            <pc:sldMk cId="1916272374" sldId="679"/>
            <ac:cxnSpMk id="16" creationId="{EB1EEC3B-585D-4BBA-B6A3-FF23B6738A48}"/>
          </ac:cxnSpMkLst>
        </pc:cxnChg>
        <pc:cxnChg chg="add mod">
          <ac:chgData name="Hannes Maurer" userId="7aa1423c-8795-49e0-8989-d53f8102476c" providerId="ADAL" clId="{EB2F38F5-5EB9-4782-9C23-0FD2ADCE9FC7}" dt="2025-04-22T12:52:15.777" v="680" actId="1076"/>
          <ac:cxnSpMkLst>
            <pc:docMk/>
            <pc:sldMk cId="1916272374" sldId="679"/>
            <ac:cxnSpMk id="46" creationId="{EEB3EBD4-44E2-4C72-8DA6-279203768F7C}"/>
          </ac:cxnSpMkLst>
        </pc:cxnChg>
        <pc:cxnChg chg="add mod">
          <ac:chgData name="Hannes Maurer" userId="7aa1423c-8795-49e0-8989-d53f8102476c" providerId="ADAL" clId="{EB2F38F5-5EB9-4782-9C23-0FD2ADCE9FC7}" dt="2025-04-22T12:52:24.137" v="682" actId="14100"/>
          <ac:cxnSpMkLst>
            <pc:docMk/>
            <pc:sldMk cId="1916272374" sldId="679"/>
            <ac:cxnSpMk id="48" creationId="{A53F460B-053B-4BCE-9815-F8B96D79DEA9}"/>
          </ac:cxnSpMkLst>
        </pc:cxnChg>
        <pc:cxnChg chg="add mod">
          <ac:chgData name="Hannes Maurer" userId="7aa1423c-8795-49e0-8989-d53f8102476c" providerId="ADAL" clId="{EB2F38F5-5EB9-4782-9C23-0FD2ADCE9FC7}" dt="2025-04-22T12:51:51.880" v="677" actId="1076"/>
          <ac:cxnSpMkLst>
            <pc:docMk/>
            <pc:sldMk cId="1916272374" sldId="679"/>
            <ac:cxnSpMk id="51" creationId="{E4BF4A7A-EEF5-4176-951B-76697C6E55D5}"/>
          </ac:cxnSpMkLst>
        </pc:cxnChg>
        <pc:cxnChg chg="add mod">
          <ac:chgData name="Hannes Maurer" userId="7aa1423c-8795-49e0-8989-d53f8102476c" providerId="ADAL" clId="{EB2F38F5-5EB9-4782-9C23-0FD2ADCE9FC7}" dt="2025-04-22T12:38:35.716" v="428" actId="1076"/>
          <ac:cxnSpMkLst>
            <pc:docMk/>
            <pc:sldMk cId="1916272374" sldId="679"/>
            <ac:cxnSpMk id="55" creationId="{175563A0-5F83-4C23-8482-477AE56A2ED0}"/>
          </ac:cxnSpMkLst>
        </pc:cxnChg>
      </pc:sldChg>
      <pc:sldChg chg="addSp delSp modSp add">
        <pc:chgData name="Hannes Maurer" userId="7aa1423c-8795-49e0-8989-d53f8102476c" providerId="ADAL" clId="{EB2F38F5-5EB9-4782-9C23-0FD2ADCE9FC7}" dt="2025-04-22T13:23:32.836" v="1191" actId="14100"/>
        <pc:sldMkLst>
          <pc:docMk/>
          <pc:sldMk cId="3885160775" sldId="680"/>
        </pc:sldMkLst>
        <pc:spChg chg="add mod">
          <ac:chgData name="Hannes Maurer" userId="7aa1423c-8795-49e0-8989-d53f8102476c" providerId="ADAL" clId="{EB2F38F5-5EB9-4782-9C23-0FD2ADCE9FC7}" dt="2025-04-22T13:20:58.933" v="1129" actId="1076"/>
          <ac:spMkLst>
            <pc:docMk/>
            <pc:sldMk cId="3885160775" sldId="680"/>
            <ac:spMk id="10" creationId="{D4905E52-C0E5-4EA3-8AC1-C6751FE3D2E7}"/>
          </ac:spMkLst>
        </pc:spChg>
        <pc:spChg chg="add mod">
          <ac:chgData name="Hannes Maurer" userId="7aa1423c-8795-49e0-8989-d53f8102476c" providerId="ADAL" clId="{EB2F38F5-5EB9-4782-9C23-0FD2ADCE9FC7}" dt="2025-04-22T13:22:31.733" v="1169" actId="1076"/>
          <ac:spMkLst>
            <pc:docMk/>
            <pc:sldMk cId="3885160775" sldId="680"/>
            <ac:spMk id="11" creationId="{0268A752-4C64-4731-B6A0-F72222C4D65B}"/>
          </ac:spMkLst>
        </pc:spChg>
        <pc:spChg chg="add mod">
          <ac:chgData name="Hannes Maurer" userId="7aa1423c-8795-49e0-8989-d53f8102476c" providerId="ADAL" clId="{EB2F38F5-5EB9-4782-9C23-0FD2ADCE9FC7}" dt="2025-04-22T13:20:52.917" v="1127" actId="1076"/>
          <ac:spMkLst>
            <pc:docMk/>
            <pc:sldMk cId="3885160775" sldId="680"/>
            <ac:spMk id="12" creationId="{BC04E68C-E1F4-4FFA-BB20-F519F8E231FE}"/>
          </ac:spMkLst>
        </pc:spChg>
        <pc:spChg chg="add mod">
          <ac:chgData name="Hannes Maurer" userId="7aa1423c-8795-49e0-8989-d53f8102476c" providerId="ADAL" clId="{EB2F38F5-5EB9-4782-9C23-0FD2ADCE9FC7}" dt="2025-04-22T13:21:19.157" v="1152" actId="1076"/>
          <ac:spMkLst>
            <pc:docMk/>
            <pc:sldMk cId="3885160775" sldId="680"/>
            <ac:spMk id="13" creationId="{18A94016-0DFA-40FD-BFCF-715B9820D6E6}"/>
          </ac:spMkLst>
        </pc:spChg>
        <pc:spChg chg="add mod">
          <ac:chgData name="Hannes Maurer" userId="7aa1423c-8795-49e0-8989-d53f8102476c" providerId="ADAL" clId="{EB2F38F5-5EB9-4782-9C23-0FD2ADCE9FC7}" dt="2025-04-22T13:22:52.441" v="1178" actId="20577"/>
          <ac:spMkLst>
            <pc:docMk/>
            <pc:sldMk cId="3885160775" sldId="680"/>
            <ac:spMk id="25" creationId="{D5F60A77-D150-490C-964A-C5B8C2BA07DF}"/>
          </ac:spMkLst>
        </pc:spChg>
        <pc:spChg chg="add mod">
          <ac:chgData name="Hannes Maurer" userId="7aa1423c-8795-49e0-8989-d53f8102476c" providerId="ADAL" clId="{EB2F38F5-5EB9-4782-9C23-0FD2ADCE9FC7}" dt="2025-04-22T13:23:24.970" v="1188" actId="20577"/>
          <ac:spMkLst>
            <pc:docMk/>
            <pc:sldMk cId="3885160775" sldId="680"/>
            <ac:spMk id="28" creationId="{7B7D18CD-D292-4709-97BE-6983C96E6C8C}"/>
          </ac:spMkLst>
        </pc:spChg>
        <pc:graphicFrameChg chg="add mod modGraphic">
          <ac:chgData name="Hannes Maurer" userId="7aa1423c-8795-49e0-8989-d53f8102476c" providerId="ADAL" clId="{EB2F38F5-5EB9-4782-9C23-0FD2ADCE9FC7}" dt="2025-04-22T12:06:06.699" v="64" actId="339"/>
          <ac:graphicFrameMkLst>
            <pc:docMk/>
            <pc:sldMk cId="3885160775" sldId="680"/>
            <ac:graphicFrameMk id="9" creationId="{9A90C581-6408-4E08-9022-DF64709A512A}"/>
          </ac:graphicFrameMkLst>
        </pc:graphicFrameChg>
        <pc:cxnChg chg="add mod">
          <ac:chgData name="Hannes Maurer" userId="7aa1423c-8795-49e0-8989-d53f8102476c" providerId="ADAL" clId="{EB2F38F5-5EB9-4782-9C23-0FD2ADCE9FC7}" dt="2025-04-22T13:22:28.861" v="1168" actId="14100"/>
          <ac:cxnSpMkLst>
            <pc:docMk/>
            <pc:sldMk cId="3885160775" sldId="680"/>
            <ac:cxnSpMk id="15" creationId="{613728BC-F39D-4DDE-87C5-15124EA9A7D6}"/>
          </ac:cxnSpMkLst>
        </pc:cxnChg>
        <pc:cxnChg chg="add mod">
          <ac:chgData name="Hannes Maurer" userId="7aa1423c-8795-49e0-8989-d53f8102476c" providerId="ADAL" clId="{EB2F38F5-5EB9-4782-9C23-0FD2ADCE9FC7}" dt="2025-04-22T13:21:43.213" v="1158" actId="1076"/>
          <ac:cxnSpMkLst>
            <pc:docMk/>
            <pc:sldMk cId="3885160775" sldId="680"/>
            <ac:cxnSpMk id="17" creationId="{59820958-591E-42E9-8CDA-A7251CAD4AE2}"/>
          </ac:cxnSpMkLst>
        </pc:cxnChg>
        <pc:cxnChg chg="add mod">
          <ac:chgData name="Hannes Maurer" userId="7aa1423c-8795-49e0-8989-d53f8102476c" providerId="ADAL" clId="{EB2F38F5-5EB9-4782-9C23-0FD2ADCE9FC7}" dt="2025-04-22T13:21:50.021" v="1161" actId="14100"/>
          <ac:cxnSpMkLst>
            <pc:docMk/>
            <pc:sldMk cId="3885160775" sldId="680"/>
            <ac:cxnSpMk id="19" creationId="{3FC01E45-2616-4838-AA74-15B1C2EA7181}"/>
          </ac:cxnSpMkLst>
        </pc:cxnChg>
        <pc:cxnChg chg="add mod">
          <ac:chgData name="Hannes Maurer" userId="7aa1423c-8795-49e0-8989-d53f8102476c" providerId="ADAL" clId="{EB2F38F5-5EB9-4782-9C23-0FD2ADCE9FC7}" dt="2025-04-22T13:22:16.189" v="1165" actId="14100"/>
          <ac:cxnSpMkLst>
            <pc:docMk/>
            <pc:sldMk cId="3885160775" sldId="680"/>
            <ac:cxnSpMk id="21" creationId="{4B65547A-1BF8-40A9-BDF7-0D15EE120CBD}"/>
          </ac:cxnSpMkLst>
        </pc:cxnChg>
        <pc:cxnChg chg="add mod">
          <ac:chgData name="Hannes Maurer" userId="7aa1423c-8795-49e0-8989-d53f8102476c" providerId="ADAL" clId="{EB2F38F5-5EB9-4782-9C23-0FD2ADCE9FC7}" dt="2025-04-22T13:23:00.709" v="1181" actId="14100"/>
          <ac:cxnSpMkLst>
            <pc:docMk/>
            <pc:sldMk cId="3885160775" sldId="680"/>
            <ac:cxnSpMk id="26" creationId="{1277E27A-692D-4F7E-8EAB-9C3628ACD188}"/>
          </ac:cxnSpMkLst>
        </pc:cxnChg>
        <pc:cxnChg chg="add mod">
          <ac:chgData name="Hannes Maurer" userId="7aa1423c-8795-49e0-8989-d53f8102476c" providerId="ADAL" clId="{EB2F38F5-5EB9-4782-9C23-0FD2ADCE9FC7}" dt="2025-04-22T13:23:32.836" v="1191" actId="14100"/>
          <ac:cxnSpMkLst>
            <pc:docMk/>
            <pc:sldMk cId="3885160775" sldId="680"/>
            <ac:cxnSpMk id="29" creationId="{0613FD5E-8788-4500-A5C0-90D1F76B1667}"/>
          </ac:cxnSpMkLst>
        </pc:cxnChg>
      </pc:sldChg>
      <pc:sldChg chg="delSp modSp add">
        <pc:chgData name="Hannes Maurer" userId="7aa1423c-8795-49e0-8989-d53f8102476c" providerId="ADAL" clId="{EB2F38F5-5EB9-4782-9C23-0FD2ADCE9FC7}" dt="2025-04-22T12:34:20.022" v="264" actId="478"/>
        <pc:sldMkLst>
          <pc:docMk/>
          <pc:sldMk cId="1266525283" sldId="681"/>
        </pc:sldMkLst>
      </pc:sldChg>
      <pc:sldChg chg="addSp modSp">
        <pc:chgData name="Hannes Maurer" userId="7aa1423c-8795-49e0-8989-d53f8102476c" providerId="ADAL" clId="{EB2F38F5-5EB9-4782-9C23-0FD2ADCE9FC7}" dt="2025-04-22T13:24:48.893" v="1211" actId="20577"/>
        <pc:sldMkLst>
          <pc:docMk/>
          <pc:sldMk cId="1266525283" sldId="686"/>
        </pc:sldMkLst>
        <pc:spChg chg="mod">
          <ac:chgData name="Hannes Maurer" userId="7aa1423c-8795-49e0-8989-d53f8102476c" providerId="ADAL" clId="{EB2F38F5-5EB9-4782-9C23-0FD2ADCE9FC7}" dt="2025-04-22T12:58:12.708" v="825" actId="20577"/>
          <ac:spMkLst>
            <pc:docMk/>
            <pc:sldMk cId="1266525283" sldId="686"/>
            <ac:spMk id="4" creationId="{8E82AE8B-6FED-4296-A4A8-0F89F3781839}"/>
          </ac:spMkLst>
        </pc:spChg>
        <pc:spChg chg="add mod">
          <ac:chgData name="Hannes Maurer" userId="7aa1423c-8795-49e0-8989-d53f8102476c" providerId="ADAL" clId="{EB2F38F5-5EB9-4782-9C23-0FD2ADCE9FC7}" dt="2025-04-22T13:24:48.893" v="1211" actId="20577"/>
          <ac:spMkLst>
            <pc:docMk/>
            <pc:sldMk cId="1266525283" sldId="686"/>
            <ac:spMk id="7" creationId="{8F854E29-798F-4687-B72D-B0C948D38373}"/>
          </ac:spMkLst>
        </pc:spChg>
        <pc:graphicFrameChg chg="add mod modGraphic">
          <ac:chgData name="Hannes Maurer" userId="7aa1423c-8795-49e0-8989-d53f8102476c" providerId="ADAL" clId="{EB2F38F5-5EB9-4782-9C23-0FD2ADCE9FC7}" dt="2025-04-22T12:59:45.249" v="854" actId="339"/>
          <ac:graphicFrameMkLst>
            <pc:docMk/>
            <pc:sldMk cId="1266525283" sldId="686"/>
            <ac:graphicFrameMk id="10" creationId="{683BB71C-3E4A-4262-BBC6-66E7E7CD1E8E}"/>
          </ac:graphicFrameMkLst>
        </pc:graphicFrameChg>
      </pc:sldChg>
    </pc:docChg>
  </pc:docChgLst>
  <pc:docChgLst>
    <pc:chgData name="bullingerm.tmt22" userId="9ce3b8b2-035f-4175-b301-998b03a50e38" providerId="ADAL" clId="{5CB309B6-9A74-4EA4-964D-F64C203758E1}"/>
    <pc:docChg chg="addSld modSld">
      <pc:chgData name="bullingerm.tmt22" userId="9ce3b8b2-035f-4175-b301-998b03a50e38" providerId="ADAL" clId="{5CB309B6-9A74-4EA4-964D-F64C203758E1}" dt="2025-04-01T12:01:40.887" v="10"/>
      <pc:docMkLst>
        <pc:docMk/>
      </pc:docMkLst>
      <pc:sldChg chg="addSp modSp modTransition">
        <pc:chgData name="bullingerm.tmt22" userId="9ce3b8b2-035f-4175-b301-998b03a50e38" providerId="ADAL" clId="{5CB309B6-9A74-4EA4-964D-F64C203758E1}" dt="2025-04-01T12:01:35.688" v="8"/>
        <pc:sldMkLst>
          <pc:docMk/>
          <pc:sldMk cId="1986987989" sldId="624"/>
        </pc:sldMkLst>
      </pc:sldChg>
      <pc:sldChg chg="modSp add modTransition">
        <pc:chgData name="bullingerm.tmt22" userId="9ce3b8b2-035f-4175-b301-998b03a50e38" providerId="ADAL" clId="{5CB309B6-9A74-4EA4-964D-F64C203758E1}" dt="2025-04-01T12:01:38.711" v="9"/>
        <pc:sldMkLst>
          <pc:docMk/>
          <pc:sldMk cId="259873060" sldId="637"/>
        </pc:sldMkLst>
      </pc:sldChg>
      <pc:sldChg chg="modSp add modTransition">
        <pc:chgData name="bullingerm.tmt22" userId="9ce3b8b2-035f-4175-b301-998b03a50e38" providerId="ADAL" clId="{5CB309B6-9A74-4EA4-964D-F64C203758E1}" dt="2025-04-01T12:01:40.887" v="10"/>
        <pc:sldMkLst>
          <pc:docMk/>
          <pc:sldMk cId="612847529" sldId="638"/>
        </pc:sldMkLst>
      </pc:sldChg>
    </pc:docChg>
  </pc:docChgLst>
  <pc:docChgLst>
    <pc:chgData name="reilec.tmb22" userId="S::reilec.tmb22@student.dhbw-heidenheim.de::0b7e6988-e521-4a1e-900b-efd6b80549e1" providerId="AD" clId="Web-{A3BFB665-5B55-51E3-7D2A-394AE944FF67}"/>
    <pc:docChg chg="modSld">
      <pc:chgData name="reilec.tmb22" userId="S::reilec.tmb22@student.dhbw-heidenheim.de::0b7e6988-e521-4a1e-900b-efd6b80549e1" providerId="AD" clId="Web-{A3BFB665-5B55-51E3-7D2A-394AE944FF67}" dt="2025-04-22T13:42:26.612" v="10" actId="1076"/>
      <pc:docMkLst>
        <pc:docMk/>
      </pc:docMkLst>
      <pc:sldChg chg="modSp">
        <pc:chgData name="reilec.tmb22" userId="S::reilec.tmb22@student.dhbw-heidenheim.de::0b7e6988-e521-4a1e-900b-efd6b80549e1" providerId="AD" clId="Web-{A3BFB665-5B55-51E3-7D2A-394AE944FF67}" dt="2025-04-22T13:42:26.612" v="10" actId="1076"/>
        <pc:sldMkLst>
          <pc:docMk/>
          <pc:sldMk cId="1314778286" sldId="668"/>
        </pc:sldMkLst>
        <pc:spChg chg="mod">
          <ac:chgData name="reilec.tmb22" userId="S::reilec.tmb22@student.dhbw-heidenheim.de::0b7e6988-e521-4a1e-900b-efd6b80549e1" providerId="AD" clId="Web-{A3BFB665-5B55-51E3-7D2A-394AE944FF67}" dt="2025-04-22T13:42:26.612" v="10" actId="1076"/>
          <ac:spMkLst>
            <pc:docMk/>
            <pc:sldMk cId="1314778286" sldId="668"/>
            <ac:spMk id="5" creationId="{096AD823-263C-343F-E7A9-9838E189D069}"/>
          </ac:spMkLst>
        </pc:spChg>
        <pc:picChg chg="mod">
          <ac:chgData name="reilec.tmb22" userId="S::reilec.tmb22@student.dhbw-heidenheim.de::0b7e6988-e521-4a1e-900b-efd6b80549e1" providerId="AD" clId="Web-{A3BFB665-5B55-51E3-7D2A-394AE944FF67}" dt="2025-04-22T13:42:18.018" v="8" actId="1076"/>
          <ac:picMkLst>
            <pc:docMk/>
            <pc:sldMk cId="1314778286" sldId="668"/>
            <ac:picMk id="2" creationId="{BA6C7EBB-D7D4-E90A-BE0D-55137861BC67}"/>
          </ac:picMkLst>
        </pc:picChg>
      </pc:sldChg>
      <pc:sldChg chg="modSp">
        <pc:chgData name="reilec.tmb22" userId="S::reilec.tmb22@student.dhbw-heidenheim.de::0b7e6988-e521-4a1e-900b-efd6b80549e1" providerId="AD" clId="Web-{A3BFB665-5B55-51E3-7D2A-394AE944FF67}" dt="2025-04-22T13:41:49.813" v="2" actId="1076"/>
        <pc:sldMkLst>
          <pc:docMk/>
          <pc:sldMk cId="1086977521" sldId="669"/>
        </pc:sldMkLst>
        <pc:spChg chg="mod">
          <ac:chgData name="reilec.tmb22" userId="S::reilec.tmb22@student.dhbw-heidenheim.de::0b7e6988-e521-4a1e-900b-efd6b80549e1" providerId="AD" clId="Web-{A3BFB665-5B55-51E3-7D2A-394AE944FF67}" dt="2025-04-22T13:41:49.813" v="2" actId="1076"/>
          <ac:spMkLst>
            <pc:docMk/>
            <pc:sldMk cId="1086977521" sldId="669"/>
            <ac:spMk id="7" creationId="{EC63AE0B-A659-4E88-AC99-E9C572E1313E}"/>
          </ac:spMkLst>
        </pc:spChg>
      </pc:sldChg>
    </pc:docChg>
  </pc:docChgLst>
  <pc:docChgLst>
    <pc:chgData name="haeberlea.tmb22" userId="S::haeberlea.tmb22@student.dhbw-heidenheim.de::e23f6701-6707-4a4b-a757-e56ad2eaf1e8" providerId="AD" clId="Web-{F617F4C3-57E0-3649-061C-B57C224E0D84}"/>
    <pc:docChg chg="addSld delSld modSld modSection">
      <pc:chgData name="haeberlea.tmb22" userId="S::haeberlea.tmb22@student.dhbw-heidenheim.de::e23f6701-6707-4a4b-a757-e56ad2eaf1e8" providerId="AD" clId="Web-{F617F4C3-57E0-3649-061C-B57C224E0D84}" dt="2025-04-22T11:00:26.055" v="6" actId="1076"/>
      <pc:docMkLst>
        <pc:docMk/>
      </pc:docMkLst>
      <pc:sldChg chg="del">
        <pc:chgData name="haeberlea.tmb22" userId="S::haeberlea.tmb22@student.dhbw-heidenheim.de::e23f6701-6707-4a4b-a757-e56ad2eaf1e8" providerId="AD" clId="Web-{F617F4C3-57E0-3649-061C-B57C224E0D84}" dt="2025-04-22T11:00:12.070" v="3"/>
        <pc:sldMkLst>
          <pc:docMk/>
          <pc:sldMk cId="1652655923" sldId="657"/>
        </pc:sldMkLst>
      </pc:sldChg>
      <pc:sldChg chg="add replId">
        <pc:chgData name="haeberlea.tmb22" userId="S::haeberlea.tmb22@student.dhbw-heidenheim.de::e23f6701-6707-4a4b-a757-e56ad2eaf1e8" providerId="AD" clId="Web-{F617F4C3-57E0-3649-061C-B57C224E0D84}" dt="2025-04-22T10:59:59.929" v="0"/>
        <pc:sldMkLst>
          <pc:docMk/>
          <pc:sldMk cId="543452474" sldId="671"/>
        </pc:sldMkLst>
      </pc:sldChg>
      <pc:sldChg chg="add replId">
        <pc:chgData name="haeberlea.tmb22" userId="S::haeberlea.tmb22@student.dhbw-heidenheim.de::e23f6701-6707-4a4b-a757-e56ad2eaf1e8" providerId="AD" clId="Web-{F617F4C3-57E0-3649-061C-B57C224E0D84}" dt="2025-04-22T11:00:02.289" v="1"/>
        <pc:sldMkLst>
          <pc:docMk/>
          <pc:sldMk cId="1248099481" sldId="672"/>
        </pc:sldMkLst>
      </pc:sldChg>
      <pc:sldChg chg="addSp modSp add replId">
        <pc:chgData name="haeberlea.tmb22" userId="S::haeberlea.tmb22@student.dhbw-heidenheim.de::e23f6701-6707-4a4b-a757-e56ad2eaf1e8" providerId="AD" clId="Web-{F617F4C3-57E0-3649-061C-B57C224E0D84}" dt="2025-04-22T11:00:26.055" v="6" actId="1076"/>
        <pc:sldMkLst>
          <pc:docMk/>
          <pc:sldMk cId="2762745259" sldId="673"/>
        </pc:sldMkLst>
      </pc:sldChg>
    </pc:docChg>
  </pc:docChgLst>
  <pc:docChgLst>
    <pc:chgData name="reilec.tmb22" userId="S::reilec.tmb22@student.dhbw-heidenheim.de::0b7e6988-e521-4a1e-900b-efd6b80549e1" providerId="AD" clId="Web-{AA98C374-7A78-08E2-EF6B-2B7AF04A874A}"/>
    <pc:docChg chg="modSld">
      <pc:chgData name="reilec.tmb22" userId="S::reilec.tmb22@student.dhbw-heidenheim.de::0b7e6988-e521-4a1e-900b-efd6b80549e1" providerId="AD" clId="Web-{AA98C374-7A78-08E2-EF6B-2B7AF04A874A}" dt="2025-04-22T12:59:03.720" v="68" actId="20577"/>
      <pc:docMkLst>
        <pc:docMk/>
      </pc:docMkLst>
      <pc:sldChg chg="addSp delSp modSp">
        <pc:chgData name="reilec.tmb22" userId="S::reilec.tmb22@student.dhbw-heidenheim.de::0b7e6988-e521-4a1e-900b-efd6b80549e1" providerId="AD" clId="Web-{AA98C374-7A78-08E2-EF6B-2B7AF04A874A}" dt="2025-04-22T12:59:03.720" v="68" actId="20577"/>
        <pc:sldMkLst>
          <pc:docMk/>
          <pc:sldMk cId="1314778286" sldId="668"/>
        </pc:sldMkLst>
        <pc:spChg chg="add mod">
          <ac:chgData name="reilec.tmb22" userId="S::reilec.tmb22@student.dhbw-heidenheim.de::0b7e6988-e521-4a1e-900b-efd6b80549e1" providerId="AD" clId="Web-{AA98C374-7A78-08E2-EF6B-2B7AF04A874A}" dt="2025-04-22T12:59:03.720" v="68" actId="20577"/>
          <ac:spMkLst>
            <pc:docMk/>
            <pc:sldMk cId="1314778286" sldId="668"/>
            <ac:spMk id="5" creationId="{096AD823-263C-343F-E7A9-9838E189D069}"/>
          </ac:spMkLst>
        </pc:spChg>
        <pc:picChg chg="add mod">
          <ac:chgData name="reilec.tmb22" userId="S::reilec.tmb22@student.dhbw-heidenheim.de::0b7e6988-e521-4a1e-900b-efd6b80549e1" providerId="AD" clId="Web-{AA98C374-7A78-08E2-EF6B-2B7AF04A874A}" dt="2025-04-22T12:56:50.230" v="4" actId="1076"/>
          <ac:picMkLst>
            <pc:docMk/>
            <pc:sldMk cId="1314778286" sldId="668"/>
            <ac:picMk id="2" creationId="{BA6C7EBB-D7D4-E90A-BE0D-55137861BC67}"/>
          </ac:picMkLst>
        </pc:picChg>
      </pc:sldChg>
    </pc:docChg>
  </pc:docChgLst>
  <pc:docChgLst>
    <pc:chgData name="reilec.tmb22" userId="S::reilec.tmb22@student.dhbw-heidenheim.de::0b7e6988-e521-4a1e-900b-efd6b80549e1" providerId="AD" clId="Web-{8BA132B2-AFE5-FC7A-9BF6-88EC75B4C8CF}"/>
    <pc:docChg chg="modSld">
      <pc:chgData name="reilec.tmb22" userId="S::reilec.tmb22@student.dhbw-heidenheim.de::0b7e6988-e521-4a1e-900b-efd6b80549e1" providerId="AD" clId="Web-{8BA132B2-AFE5-FC7A-9BF6-88EC75B4C8CF}" dt="2025-04-29T12:43:18.167" v="4" actId="14100"/>
      <pc:docMkLst>
        <pc:docMk/>
      </pc:docMkLst>
      <pc:sldChg chg="modSp">
        <pc:chgData name="reilec.tmb22" userId="S::reilec.tmb22@student.dhbw-heidenheim.de::0b7e6988-e521-4a1e-900b-efd6b80549e1" providerId="AD" clId="Web-{8BA132B2-AFE5-FC7A-9BF6-88EC75B4C8CF}" dt="2025-04-29T12:43:18.167" v="4" actId="14100"/>
        <pc:sldMkLst>
          <pc:docMk/>
          <pc:sldMk cId="60939154" sldId="682"/>
        </pc:sldMkLst>
        <pc:picChg chg="mod">
          <ac:chgData name="reilec.tmb22" userId="S::reilec.tmb22@student.dhbw-heidenheim.de::0b7e6988-e521-4a1e-900b-efd6b80549e1" providerId="AD" clId="Web-{8BA132B2-AFE5-FC7A-9BF6-88EC75B4C8CF}" dt="2025-04-29T12:43:18.167" v="4" actId="14100"/>
          <ac:picMkLst>
            <pc:docMk/>
            <pc:sldMk cId="60939154" sldId="682"/>
            <ac:picMk id="3" creationId="{7B83FC45-296B-4DB6-A54F-6E1E3A1F41D6}"/>
          </ac:picMkLst>
        </pc:picChg>
        <pc:picChg chg="mod">
          <ac:chgData name="reilec.tmb22" userId="S::reilec.tmb22@student.dhbw-heidenheim.de::0b7e6988-e521-4a1e-900b-efd6b80549e1" providerId="AD" clId="Web-{8BA132B2-AFE5-FC7A-9BF6-88EC75B4C8CF}" dt="2025-04-29T12:43:04.995" v="0" actId="14100"/>
          <ac:picMkLst>
            <pc:docMk/>
            <pc:sldMk cId="60939154" sldId="682"/>
            <ac:picMk id="5" creationId="{AC8EE0C1-11DE-4EDD-940B-4301C7FFC7C7}"/>
          </ac:picMkLst>
        </pc:picChg>
      </pc:sldChg>
    </pc:docChg>
  </pc:docChgLst>
  <pc:docChgLst>
    <pc:chgData name="haeberlea.tmb22" userId="S::haeberlea.tmb22@student.dhbw-heidenheim.de::e23f6701-6707-4a4b-a757-e56ad2eaf1e8" providerId="AD" clId="Web-{BB0742C7-85EC-2C2D-766A-0D6094329A0D}"/>
    <pc:docChg chg="addSld delSld modSld sldOrd modSection">
      <pc:chgData name="haeberlea.tmb22" userId="S::haeberlea.tmb22@student.dhbw-heidenheim.de::e23f6701-6707-4a4b-a757-e56ad2eaf1e8" providerId="AD" clId="Web-{BB0742C7-85EC-2C2D-766A-0D6094329A0D}" dt="2025-04-22T10:13:07.156" v="92"/>
      <pc:docMkLst>
        <pc:docMk/>
      </pc:docMkLst>
      <pc:sldChg chg="modSp">
        <pc:chgData name="haeberlea.tmb22" userId="S::haeberlea.tmb22@student.dhbw-heidenheim.de::e23f6701-6707-4a4b-a757-e56ad2eaf1e8" providerId="AD" clId="Web-{BB0742C7-85EC-2C2D-766A-0D6094329A0D}" dt="2025-04-22T09:10:53.598" v="79" actId="14100"/>
        <pc:sldMkLst>
          <pc:docMk/>
          <pc:sldMk cId="3664439336" sldId="262"/>
        </pc:sldMkLst>
        <pc:spChg chg="mod">
          <ac:chgData name="haeberlea.tmb22" userId="S::haeberlea.tmb22@student.dhbw-heidenheim.de::e23f6701-6707-4a4b-a757-e56ad2eaf1e8" providerId="AD" clId="Web-{BB0742C7-85EC-2C2D-766A-0D6094329A0D}" dt="2025-04-22T09:10:48.848" v="78" actId="14100"/>
          <ac:spMkLst>
            <pc:docMk/>
            <pc:sldMk cId="3664439336" sldId="262"/>
            <ac:spMk id="3" creationId="{3D5704D4-182D-2081-A931-337F4856B6A2}"/>
          </ac:spMkLst>
        </pc:spChg>
        <pc:spChg chg="mod">
          <ac:chgData name="haeberlea.tmb22" userId="S::haeberlea.tmb22@student.dhbw-heidenheim.de::e23f6701-6707-4a4b-a757-e56ad2eaf1e8" providerId="AD" clId="Web-{BB0742C7-85EC-2C2D-766A-0D6094329A0D}" dt="2025-04-22T09:10:53.598" v="79" actId="14100"/>
          <ac:spMkLst>
            <pc:docMk/>
            <pc:sldMk cId="3664439336" sldId="262"/>
            <ac:spMk id="5" creationId="{2199AC7C-AE3C-424B-AE6F-C75CC60F5A24}"/>
          </ac:spMkLst>
        </pc:spChg>
      </pc:sldChg>
      <pc:sldChg chg="modSp">
        <pc:chgData name="haeberlea.tmb22" userId="S::haeberlea.tmb22@student.dhbw-heidenheim.de::e23f6701-6707-4a4b-a757-e56ad2eaf1e8" providerId="AD" clId="Web-{BB0742C7-85EC-2C2D-766A-0D6094329A0D}" dt="2025-04-22T06:28:31.055" v="0" actId="20577"/>
        <pc:sldMkLst>
          <pc:docMk/>
          <pc:sldMk cId="3265104741" sldId="642"/>
        </pc:sldMkLst>
        <pc:spChg chg="mod">
          <ac:chgData name="haeberlea.tmb22" userId="S::haeberlea.tmb22@student.dhbw-heidenheim.de::e23f6701-6707-4a4b-a757-e56ad2eaf1e8" providerId="AD" clId="Web-{BB0742C7-85EC-2C2D-766A-0D6094329A0D}" dt="2025-04-22T06:28:31.055" v="0" actId="20577"/>
          <ac:spMkLst>
            <pc:docMk/>
            <pc:sldMk cId="3265104741" sldId="642"/>
            <ac:spMk id="55" creationId="{19DE45C8-CACE-B2CE-64F1-BA3CB5DF732B}"/>
          </ac:spMkLst>
        </pc:spChg>
      </pc:sldChg>
      <pc:sldChg chg="new del">
        <pc:chgData name="haeberlea.tmb22" userId="S::haeberlea.tmb22@student.dhbw-heidenheim.de::e23f6701-6707-4a4b-a757-e56ad2eaf1e8" providerId="AD" clId="Web-{BB0742C7-85EC-2C2D-766A-0D6094329A0D}" dt="2025-04-22T06:33:39.866" v="4"/>
        <pc:sldMkLst>
          <pc:docMk/>
          <pc:sldMk cId="60339716" sldId="649"/>
        </pc:sldMkLst>
      </pc:sldChg>
      <pc:sldChg chg="new del">
        <pc:chgData name="haeberlea.tmb22" userId="S::haeberlea.tmb22@student.dhbw-heidenheim.de::e23f6701-6707-4a4b-a757-e56ad2eaf1e8" providerId="AD" clId="Web-{BB0742C7-85EC-2C2D-766A-0D6094329A0D}" dt="2025-04-22T06:33:51.616" v="6"/>
        <pc:sldMkLst>
          <pc:docMk/>
          <pc:sldMk cId="332692753" sldId="649"/>
        </pc:sldMkLst>
      </pc:sldChg>
      <pc:sldChg chg="new del">
        <pc:chgData name="haeberlea.tmb22" userId="S::haeberlea.tmb22@student.dhbw-heidenheim.de::e23f6701-6707-4a4b-a757-e56ad2eaf1e8" providerId="AD" clId="Web-{BB0742C7-85EC-2C2D-766A-0D6094329A0D}" dt="2025-04-22T06:33:17.896" v="2"/>
        <pc:sldMkLst>
          <pc:docMk/>
          <pc:sldMk cId="773218798" sldId="649"/>
        </pc:sldMkLst>
      </pc:sldChg>
      <pc:sldChg chg="new del">
        <pc:chgData name="haeberlea.tmb22" userId="S::haeberlea.tmb22@student.dhbw-heidenheim.de::e23f6701-6707-4a4b-a757-e56ad2eaf1e8" providerId="AD" clId="Web-{BB0742C7-85EC-2C2D-766A-0D6094329A0D}" dt="2025-04-22T06:34:14.508" v="8"/>
        <pc:sldMkLst>
          <pc:docMk/>
          <pc:sldMk cId="2485242472" sldId="649"/>
        </pc:sldMkLst>
      </pc:sldChg>
      <pc:sldChg chg="addSp delSp modSp add replId">
        <pc:chgData name="haeberlea.tmb22" userId="S::haeberlea.tmb22@student.dhbw-heidenheim.de::e23f6701-6707-4a4b-a757-e56ad2eaf1e8" providerId="AD" clId="Web-{BB0742C7-85EC-2C2D-766A-0D6094329A0D}" dt="2025-04-22T10:03:09.939" v="91"/>
        <pc:sldMkLst>
          <pc:docMk/>
          <pc:sldMk cId="3837770887" sldId="649"/>
        </pc:sldMkLst>
        <pc:spChg chg="mod">
          <ac:chgData name="haeberlea.tmb22" userId="S::haeberlea.tmb22@student.dhbw-heidenheim.de::e23f6701-6707-4a4b-a757-e56ad2eaf1e8" providerId="AD" clId="Web-{BB0742C7-85EC-2C2D-766A-0D6094329A0D}" dt="2025-04-22T06:34:37.806" v="18" actId="20577"/>
          <ac:spMkLst>
            <pc:docMk/>
            <pc:sldMk cId="3837770887" sldId="649"/>
            <ac:spMk id="42" creationId="{F61FBC2E-FCF0-9A42-F113-569EF942DE30}"/>
          </ac:spMkLst>
        </pc:spChg>
        <pc:spChg chg="mod">
          <ac:chgData name="haeberlea.tmb22" userId="S::haeberlea.tmb22@student.dhbw-heidenheim.de::e23f6701-6707-4a4b-a757-e56ad2eaf1e8" providerId="AD" clId="Web-{BB0742C7-85EC-2C2D-766A-0D6094329A0D}" dt="2025-04-22T06:35:14.229" v="23" actId="20577"/>
          <ac:spMkLst>
            <pc:docMk/>
            <pc:sldMk cId="3837770887" sldId="649"/>
            <ac:spMk id="43" creationId="{4A58286E-5A12-3145-760F-D5AD28E15C15}"/>
          </ac:spMkLst>
        </pc:spChg>
        <pc:picChg chg="add mod modCrop">
          <ac:chgData name="haeberlea.tmb22" userId="S::haeberlea.tmb22@student.dhbw-heidenheim.de::e23f6701-6707-4a4b-a757-e56ad2eaf1e8" providerId="AD" clId="Web-{BB0742C7-85EC-2C2D-766A-0D6094329A0D}" dt="2025-04-22T10:03:09.939" v="91"/>
          <ac:picMkLst>
            <pc:docMk/>
            <pc:sldMk cId="3837770887" sldId="649"/>
            <ac:picMk id="2" creationId="{7C120071-BA8E-A228-7726-0C00A24F6588}"/>
          </ac:picMkLst>
        </pc:picChg>
      </pc:sldChg>
      <pc:sldChg chg="modSp add replId">
        <pc:chgData name="haeberlea.tmb22" userId="S::haeberlea.tmb22@student.dhbw-heidenheim.de::e23f6701-6707-4a4b-a757-e56ad2eaf1e8" providerId="AD" clId="Web-{BB0742C7-85EC-2C2D-766A-0D6094329A0D}" dt="2025-04-22T06:36:30.003" v="32" actId="20577"/>
        <pc:sldMkLst>
          <pc:docMk/>
          <pc:sldMk cId="2269644659" sldId="650"/>
        </pc:sldMkLst>
        <pc:spChg chg="mod">
          <ac:chgData name="haeberlea.tmb22" userId="S::haeberlea.tmb22@student.dhbw-heidenheim.de::e23f6701-6707-4a4b-a757-e56ad2eaf1e8" providerId="AD" clId="Web-{BB0742C7-85EC-2C2D-766A-0D6094329A0D}" dt="2025-04-22T06:36:30.003" v="32" actId="20577"/>
          <ac:spMkLst>
            <pc:docMk/>
            <pc:sldMk cId="2269644659" sldId="650"/>
            <ac:spMk id="43" creationId="{97A1965C-43A2-0D3A-BCD3-947EA12F6236}"/>
          </ac:spMkLst>
        </pc:spChg>
      </pc:sldChg>
      <pc:sldChg chg="modSp add replId">
        <pc:chgData name="haeberlea.tmb22" userId="S::haeberlea.tmb22@student.dhbw-heidenheim.de::e23f6701-6707-4a4b-a757-e56ad2eaf1e8" providerId="AD" clId="Web-{BB0742C7-85EC-2C2D-766A-0D6094329A0D}" dt="2025-04-22T06:38:03.523" v="70" actId="20577"/>
        <pc:sldMkLst>
          <pc:docMk/>
          <pc:sldMk cId="2840064016" sldId="651"/>
        </pc:sldMkLst>
        <pc:spChg chg="mod">
          <ac:chgData name="haeberlea.tmb22" userId="S::haeberlea.tmb22@student.dhbw-heidenheim.de::e23f6701-6707-4a4b-a757-e56ad2eaf1e8" providerId="AD" clId="Web-{BB0742C7-85EC-2C2D-766A-0D6094329A0D}" dt="2025-04-22T06:38:03.523" v="70" actId="20577"/>
          <ac:spMkLst>
            <pc:docMk/>
            <pc:sldMk cId="2840064016" sldId="651"/>
            <ac:spMk id="43" creationId="{62A007F5-9D9B-A024-5E96-85397B60CE8A}"/>
          </ac:spMkLst>
        </pc:spChg>
      </pc:sldChg>
      <pc:sldChg chg="modSp add ord replId">
        <pc:chgData name="haeberlea.tmb22" userId="S::haeberlea.tmb22@student.dhbw-heidenheim.de::e23f6701-6707-4a4b-a757-e56ad2eaf1e8" providerId="AD" clId="Web-{BB0742C7-85EC-2C2D-766A-0D6094329A0D}" dt="2025-04-22T10:13:07.156" v="92"/>
        <pc:sldMkLst>
          <pc:docMk/>
          <pc:sldMk cId="1652655923" sldId="657"/>
        </pc:sldMkLst>
      </pc:sldChg>
    </pc:docChg>
  </pc:docChgLst>
  <pc:docChgLst>
    <pc:chgData name="maurerh.tmb22" userId="7aa1423c-8795-49e0-8989-d53f8102476c" providerId="ADAL" clId="{8459C265-AB5F-422D-82F9-261FFE09CB50}"/>
    <pc:docChg chg="undo custSel modSld">
      <pc:chgData name="maurerh.tmb22" userId="7aa1423c-8795-49e0-8989-d53f8102476c" providerId="ADAL" clId="{8459C265-AB5F-422D-82F9-261FFE09CB50}" dt="2025-06-24T13:33:31.430" v="11" actId="478"/>
      <pc:docMkLst>
        <pc:docMk/>
      </pc:docMkLst>
      <pc:sldChg chg="addSp delSp modSp mod">
        <pc:chgData name="maurerh.tmb22" userId="7aa1423c-8795-49e0-8989-d53f8102476c" providerId="ADAL" clId="{8459C265-AB5F-422D-82F9-261FFE09CB50}" dt="2025-06-24T13:33:31.430" v="11" actId="478"/>
        <pc:sldMkLst>
          <pc:docMk/>
          <pc:sldMk cId="1916272374" sldId="679"/>
        </pc:sldMkLst>
        <pc:spChg chg="mod">
          <ac:chgData name="maurerh.tmb22" userId="7aa1423c-8795-49e0-8989-d53f8102476c" providerId="ADAL" clId="{8459C265-AB5F-422D-82F9-261FFE09CB50}" dt="2025-06-24T12:58:57.652" v="7" actId="164"/>
          <ac:spMkLst>
            <pc:docMk/>
            <pc:sldMk cId="1916272374" sldId="679"/>
            <ac:spMk id="9" creationId="{0E6CAF53-6FCE-4E21-800A-6C1AB42E74BF}"/>
          </ac:spMkLst>
        </pc:spChg>
        <pc:spChg chg="mod">
          <ac:chgData name="maurerh.tmb22" userId="7aa1423c-8795-49e0-8989-d53f8102476c" providerId="ADAL" clId="{8459C265-AB5F-422D-82F9-261FFE09CB50}" dt="2025-06-24T12:58:57.652" v="7" actId="164"/>
          <ac:spMkLst>
            <pc:docMk/>
            <pc:sldMk cId="1916272374" sldId="679"/>
            <ac:spMk id="10" creationId="{D4E60825-7437-46FF-BA7F-6FFC36A25265}"/>
          </ac:spMkLst>
        </pc:spChg>
        <pc:spChg chg="mod">
          <ac:chgData name="maurerh.tmb22" userId="7aa1423c-8795-49e0-8989-d53f8102476c" providerId="ADAL" clId="{8459C265-AB5F-422D-82F9-261FFE09CB50}" dt="2025-06-24T12:58:57.652" v="7" actId="164"/>
          <ac:spMkLst>
            <pc:docMk/>
            <pc:sldMk cId="1916272374" sldId="679"/>
            <ac:spMk id="12" creationId="{D12308BF-EA5B-47EC-9E83-16E52D1F8170}"/>
          </ac:spMkLst>
        </pc:spChg>
        <pc:spChg chg="mod">
          <ac:chgData name="maurerh.tmb22" userId="7aa1423c-8795-49e0-8989-d53f8102476c" providerId="ADAL" clId="{8459C265-AB5F-422D-82F9-261FFE09CB50}" dt="2025-06-24T12:58:57.652" v="7" actId="164"/>
          <ac:spMkLst>
            <pc:docMk/>
            <pc:sldMk cId="1916272374" sldId="679"/>
            <ac:spMk id="13" creationId="{3F04BB33-70F3-46C4-B0A4-65157CFB869F}"/>
          </ac:spMkLst>
        </pc:spChg>
        <pc:spChg chg="add del mod">
          <ac:chgData name="maurerh.tmb22" userId="7aa1423c-8795-49e0-8989-d53f8102476c" providerId="ADAL" clId="{8459C265-AB5F-422D-82F9-261FFE09CB50}" dt="2025-06-24T12:56:40.010" v="2" actId="20577"/>
          <ac:spMkLst>
            <pc:docMk/>
            <pc:sldMk cId="1916272374" sldId="679"/>
            <ac:spMk id="14" creationId="{454F4D30-9ADE-4FF2-76E9-430D0984A333}"/>
          </ac:spMkLst>
        </pc:spChg>
        <pc:spChg chg="mod">
          <ac:chgData name="maurerh.tmb22" userId="7aa1423c-8795-49e0-8989-d53f8102476c" providerId="ADAL" clId="{8459C265-AB5F-422D-82F9-261FFE09CB50}" dt="2025-06-24T12:58:57.652" v="7" actId="164"/>
          <ac:spMkLst>
            <pc:docMk/>
            <pc:sldMk cId="1916272374" sldId="679"/>
            <ac:spMk id="26" creationId="{23F32E35-78BB-4811-8678-861F42E7F956}"/>
          </ac:spMkLst>
        </pc:spChg>
        <pc:spChg chg="mod">
          <ac:chgData name="maurerh.tmb22" userId="7aa1423c-8795-49e0-8989-d53f8102476c" providerId="ADAL" clId="{8459C265-AB5F-422D-82F9-261FFE09CB50}" dt="2025-06-24T12:58:57.652" v="7" actId="164"/>
          <ac:spMkLst>
            <pc:docMk/>
            <pc:sldMk cId="1916272374" sldId="679"/>
            <ac:spMk id="27" creationId="{F045C2D1-4D47-43EF-AC0D-B7F6D44B6E57}"/>
          </ac:spMkLst>
        </pc:spChg>
        <pc:spChg chg="mod">
          <ac:chgData name="maurerh.tmb22" userId="7aa1423c-8795-49e0-8989-d53f8102476c" providerId="ADAL" clId="{8459C265-AB5F-422D-82F9-261FFE09CB50}" dt="2025-06-24T12:58:57.652" v="7" actId="164"/>
          <ac:spMkLst>
            <pc:docMk/>
            <pc:sldMk cId="1916272374" sldId="679"/>
            <ac:spMk id="28" creationId="{2C31584A-8033-4D1C-827F-AF2C2BF2FEB9}"/>
          </ac:spMkLst>
        </pc:spChg>
        <pc:spChg chg="mod">
          <ac:chgData name="maurerh.tmb22" userId="7aa1423c-8795-49e0-8989-d53f8102476c" providerId="ADAL" clId="{8459C265-AB5F-422D-82F9-261FFE09CB50}" dt="2025-06-24T12:58:57.652" v="7" actId="164"/>
          <ac:spMkLst>
            <pc:docMk/>
            <pc:sldMk cId="1916272374" sldId="679"/>
            <ac:spMk id="29" creationId="{0C8B30A8-A1BE-40E4-A562-58548F71E334}"/>
          </ac:spMkLst>
        </pc:spChg>
        <pc:spChg chg="mod">
          <ac:chgData name="maurerh.tmb22" userId="7aa1423c-8795-49e0-8989-d53f8102476c" providerId="ADAL" clId="{8459C265-AB5F-422D-82F9-261FFE09CB50}" dt="2025-06-24T12:58:57.652" v="7" actId="164"/>
          <ac:spMkLst>
            <pc:docMk/>
            <pc:sldMk cId="1916272374" sldId="679"/>
            <ac:spMk id="31" creationId="{73067868-09FF-43E0-8CC8-7491C4FCC7A8}"/>
          </ac:spMkLst>
        </pc:spChg>
        <pc:spChg chg="mod">
          <ac:chgData name="maurerh.tmb22" userId="7aa1423c-8795-49e0-8989-d53f8102476c" providerId="ADAL" clId="{8459C265-AB5F-422D-82F9-261FFE09CB50}" dt="2025-06-24T12:58:57.652" v="7" actId="164"/>
          <ac:spMkLst>
            <pc:docMk/>
            <pc:sldMk cId="1916272374" sldId="679"/>
            <ac:spMk id="33" creationId="{DED59D1A-B888-456B-B241-AB803A1749F9}"/>
          </ac:spMkLst>
        </pc:spChg>
        <pc:spChg chg="mod">
          <ac:chgData name="maurerh.tmb22" userId="7aa1423c-8795-49e0-8989-d53f8102476c" providerId="ADAL" clId="{8459C265-AB5F-422D-82F9-261FFE09CB50}" dt="2025-06-24T13:31:54.071" v="10" actId="164"/>
          <ac:spMkLst>
            <pc:docMk/>
            <pc:sldMk cId="1916272374" sldId="679"/>
            <ac:spMk id="34" creationId="{907CB028-DCF3-41AA-8710-D8BA85A245AB}"/>
          </ac:spMkLst>
        </pc:spChg>
        <pc:spChg chg="mod topLvl">
          <ac:chgData name="maurerh.tmb22" userId="7aa1423c-8795-49e0-8989-d53f8102476c" providerId="ADAL" clId="{8459C265-AB5F-422D-82F9-261FFE09CB50}" dt="2025-06-24T13:31:54.071" v="10" actId="164"/>
          <ac:spMkLst>
            <pc:docMk/>
            <pc:sldMk cId="1916272374" sldId="679"/>
            <ac:spMk id="35" creationId="{62C201A0-7A0C-44C2-BA6B-EAC7BED6D94D}"/>
          </ac:spMkLst>
        </pc:spChg>
        <pc:spChg chg="mod">
          <ac:chgData name="maurerh.tmb22" userId="7aa1423c-8795-49e0-8989-d53f8102476c" providerId="ADAL" clId="{8459C265-AB5F-422D-82F9-261FFE09CB50}" dt="2025-06-24T13:31:54.071" v="10" actId="164"/>
          <ac:spMkLst>
            <pc:docMk/>
            <pc:sldMk cId="1916272374" sldId="679"/>
            <ac:spMk id="36" creationId="{22194739-B4CB-4887-80E1-70E98C5B8799}"/>
          </ac:spMkLst>
        </pc:spChg>
        <pc:spChg chg="mod topLvl">
          <ac:chgData name="maurerh.tmb22" userId="7aa1423c-8795-49e0-8989-d53f8102476c" providerId="ADAL" clId="{8459C265-AB5F-422D-82F9-261FFE09CB50}" dt="2025-06-24T13:31:54.071" v="10" actId="164"/>
          <ac:spMkLst>
            <pc:docMk/>
            <pc:sldMk cId="1916272374" sldId="679"/>
            <ac:spMk id="37" creationId="{BD57B453-3A97-498B-A91A-8968980BE498}"/>
          </ac:spMkLst>
        </pc:spChg>
        <pc:spChg chg="mod topLvl">
          <ac:chgData name="maurerh.tmb22" userId="7aa1423c-8795-49e0-8989-d53f8102476c" providerId="ADAL" clId="{8459C265-AB5F-422D-82F9-261FFE09CB50}" dt="2025-06-24T13:31:54.071" v="10" actId="164"/>
          <ac:spMkLst>
            <pc:docMk/>
            <pc:sldMk cId="1916272374" sldId="679"/>
            <ac:spMk id="38" creationId="{D2D99380-8A77-46FC-8DF4-22BEF58F7AE2}"/>
          </ac:spMkLst>
        </pc:spChg>
        <pc:spChg chg="mod topLvl">
          <ac:chgData name="maurerh.tmb22" userId="7aa1423c-8795-49e0-8989-d53f8102476c" providerId="ADAL" clId="{8459C265-AB5F-422D-82F9-261FFE09CB50}" dt="2025-06-24T13:31:54.071" v="10" actId="164"/>
          <ac:spMkLst>
            <pc:docMk/>
            <pc:sldMk cId="1916272374" sldId="679"/>
            <ac:spMk id="39" creationId="{2A2A3465-C99A-4F91-9C16-5AF7E64361AC}"/>
          </ac:spMkLst>
        </pc:spChg>
        <pc:spChg chg="mod topLvl">
          <ac:chgData name="maurerh.tmb22" userId="7aa1423c-8795-49e0-8989-d53f8102476c" providerId="ADAL" clId="{8459C265-AB5F-422D-82F9-261FFE09CB50}" dt="2025-06-24T13:31:44.143" v="9" actId="165"/>
          <ac:spMkLst>
            <pc:docMk/>
            <pc:sldMk cId="1916272374" sldId="679"/>
            <ac:spMk id="40" creationId="{5E8D9890-0CE3-4E8A-A3FD-DADC36812966}"/>
          </ac:spMkLst>
        </pc:spChg>
        <pc:spChg chg="mod topLvl">
          <ac:chgData name="maurerh.tmb22" userId="7aa1423c-8795-49e0-8989-d53f8102476c" providerId="ADAL" clId="{8459C265-AB5F-422D-82F9-261FFE09CB50}" dt="2025-06-24T13:31:54.071" v="10" actId="164"/>
          <ac:spMkLst>
            <pc:docMk/>
            <pc:sldMk cId="1916272374" sldId="679"/>
            <ac:spMk id="41" creationId="{CDC68807-4C7E-41FD-B10D-399D632B2CA9}"/>
          </ac:spMkLst>
        </pc:spChg>
        <pc:spChg chg="mod topLvl">
          <ac:chgData name="maurerh.tmb22" userId="7aa1423c-8795-49e0-8989-d53f8102476c" providerId="ADAL" clId="{8459C265-AB5F-422D-82F9-261FFE09CB50}" dt="2025-06-24T13:31:54.071" v="10" actId="164"/>
          <ac:spMkLst>
            <pc:docMk/>
            <pc:sldMk cId="1916272374" sldId="679"/>
            <ac:spMk id="42" creationId="{30CC6FDC-011C-4247-A7B4-58F6E48CE947}"/>
          </ac:spMkLst>
        </pc:spChg>
        <pc:spChg chg="mod topLvl">
          <ac:chgData name="maurerh.tmb22" userId="7aa1423c-8795-49e0-8989-d53f8102476c" providerId="ADAL" clId="{8459C265-AB5F-422D-82F9-261FFE09CB50}" dt="2025-06-24T13:31:44.143" v="9" actId="165"/>
          <ac:spMkLst>
            <pc:docMk/>
            <pc:sldMk cId="1916272374" sldId="679"/>
            <ac:spMk id="43" creationId="{9CF614EA-F38D-48BB-BDC9-8139981E6BDF}"/>
          </ac:spMkLst>
        </pc:spChg>
        <pc:spChg chg="del mod topLvl">
          <ac:chgData name="maurerh.tmb22" userId="7aa1423c-8795-49e0-8989-d53f8102476c" providerId="ADAL" clId="{8459C265-AB5F-422D-82F9-261FFE09CB50}" dt="2025-06-24T13:33:31.430" v="11" actId="478"/>
          <ac:spMkLst>
            <pc:docMk/>
            <pc:sldMk cId="1916272374" sldId="679"/>
            <ac:spMk id="44" creationId="{BAE23ACB-B008-4479-A377-F9B3141AE131}"/>
          </ac:spMkLst>
        </pc:spChg>
        <pc:spChg chg="mod">
          <ac:chgData name="maurerh.tmb22" userId="7aa1423c-8795-49e0-8989-d53f8102476c" providerId="ADAL" clId="{8459C265-AB5F-422D-82F9-261FFE09CB50}" dt="2025-06-24T13:31:54.071" v="10" actId="164"/>
          <ac:spMkLst>
            <pc:docMk/>
            <pc:sldMk cId="1916272374" sldId="679"/>
            <ac:spMk id="57" creationId="{9F6F1732-E57B-48B3-A71A-8423F94FE304}"/>
          </ac:spMkLst>
        </pc:spChg>
        <pc:spChg chg="mod topLvl">
          <ac:chgData name="maurerh.tmb22" userId="7aa1423c-8795-49e0-8989-d53f8102476c" providerId="ADAL" clId="{8459C265-AB5F-422D-82F9-261FFE09CB50}" dt="2025-06-24T13:31:54.071" v="10" actId="164"/>
          <ac:spMkLst>
            <pc:docMk/>
            <pc:sldMk cId="1916272374" sldId="679"/>
            <ac:spMk id="58" creationId="{648C04DA-7DF2-4460-9F4B-B365DC4917F1}"/>
          </ac:spMkLst>
        </pc:spChg>
      </pc:sldChg>
    </pc:docChg>
  </pc:docChgLst>
  <pc:docChgLst>
    <pc:chgData name="maurerh.tmb22" userId="7aa1423c-8795-49e0-8989-d53f8102476c" providerId="ADAL" clId="{958FD702-2FC3-43C0-A6BE-841FF2108ED9}"/>
    <pc:docChg chg="undo custSel addSld modSld">
      <pc:chgData name="maurerh.tmb22" userId="7aa1423c-8795-49e0-8989-d53f8102476c" providerId="ADAL" clId="{958FD702-2FC3-43C0-A6BE-841FF2108ED9}" dt="2025-04-01T12:21:36.436" v="549" actId="1076"/>
      <pc:docMkLst>
        <pc:docMk/>
      </pc:docMkLst>
      <pc:sldChg chg="addSp delSp modSp mod modClrScheme chgLayout">
        <pc:chgData name="maurerh.tmb22" userId="7aa1423c-8795-49e0-8989-d53f8102476c" providerId="ADAL" clId="{958FD702-2FC3-43C0-A6BE-841FF2108ED9}" dt="2025-04-01T11:28:21.499" v="328" actId="113"/>
        <pc:sldMkLst>
          <pc:docMk/>
          <pc:sldMk cId="3098618868" sldId="623"/>
        </pc:sldMkLst>
        <pc:spChg chg="mod ord modVis">
          <ac:chgData name="maurerh.tmb22" userId="7aa1423c-8795-49e0-8989-d53f8102476c" providerId="ADAL" clId="{958FD702-2FC3-43C0-A6BE-841FF2108ED9}" dt="2025-04-01T11:14:29.039" v="47" actId="26606"/>
          <ac:spMkLst>
            <pc:docMk/>
            <pc:sldMk cId="3098618868" sldId="623"/>
            <ac:spMk id="26" creationId="{6D4E6C93-C73F-4F81-93A2-81D5185EE092}"/>
          </ac:spMkLst>
        </pc:spChg>
        <pc:spChg chg="mod">
          <ac:chgData name="maurerh.tmb22" userId="7aa1423c-8795-49e0-8989-d53f8102476c" providerId="ADAL" clId="{958FD702-2FC3-43C0-A6BE-841FF2108ED9}" dt="2025-04-01T11:14:29.039" v="47" actId="26606"/>
          <ac:spMkLst>
            <pc:docMk/>
            <pc:sldMk cId="3098618868" sldId="623"/>
            <ac:spMk id="27" creationId="{932F0AEB-E978-4481-9EAD-595EF88BCCE2}"/>
          </ac:spMkLst>
        </pc:spChg>
        <pc:spChg chg="mod">
          <ac:chgData name="maurerh.tmb22" userId="7aa1423c-8795-49e0-8989-d53f8102476c" providerId="ADAL" clId="{958FD702-2FC3-43C0-A6BE-841FF2108ED9}" dt="2025-04-01T11:14:29.039" v="47" actId="26606"/>
          <ac:spMkLst>
            <pc:docMk/>
            <pc:sldMk cId="3098618868" sldId="623"/>
            <ac:spMk id="42" creationId="{4358A22D-582F-467A-AD1C-A4E2A578FD4C}"/>
          </ac:spMkLst>
        </pc:spChg>
        <pc:spChg chg="add del">
          <ac:chgData name="maurerh.tmb22" userId="7aa1423c-8795-49e0-8989-d53f8102476c" providerId="ADAL" clId="{958FD702-2FC3-43C0-A6BE-841FF2108ED9}" dt="2025-04-01T11:14:29.039" v="47" actId="26606"/>
          <ac:spMkLst>
            <pc:docMk/>
            <pc:sldMk cId="3098618868" sldId="623"/>
            <ac:spMk id="43" creationId="{E009228E-F4A7-4DAA-A2CE-4E0625D16262}"/>
          </ac:spMkLst>
        </pc:spChg>
      </pc:sldChg>
      <pc:sldChg chg="modSp mod">
        <pc:chgData name="maurerh.tmb22" userId="7aa1423c-8795-49e0-8989-d53f8102476c" providerId="ADAL" clId="{958FD702-2FC3-43C0-A6BE-841FF2108ED9}" dt="2025-04-01T12:21:36.436" v="549" actId="1076"/>
        <pc:sldMkLst>
          <pc:docMk/>
          <pc:sldMk cId="1986987989" sldId="624"/>
        </pc:sldMkLst>
      </pc:sldChg>
      <pc:sldChg chg="addSp delSp modSp mod">
        <pc:chgData name="maurerh.tmb22" userId="7aa1423c-8795-49e0-8989-d53f8102476c" providerId="ADAL" clId="{958FD702-2FC3-43C0-A6BE-841FF2108ED9}" dt="2025-04-01T11:42:50.747" v="537" actId="20577"/>
        <pc:sldMkLst>
          <pc:docMk/>
          <pc:sldMk cId="3534934231" sldId="625"/>
        </pc:sldMkLst>
        <pc:spChg chg="add mod">
          <ac:chgData name="maurerh.tmb22" userId="7aa1423c-8795-49e0-8989-d53f8102476c" providerId="ADAL" clId="{958FD702-2FC3-43C0-A6BE-841FF2108ED9}" dt="2025-04-01T11:42:50.747" v="537" actId="20577"/>
          <ac:spMkLst>
            <pc:docMk/>
            <pc:sldMk cId="3534934231" sldId="625"/>
            <ac:spMk id="4" creationId="{3F7CB6E7-67CD-12EE-A1FF-528734C25D11}"/>
          </ac:spMkLst>
        </pc:spChg>
        <pc:spChg chg="mod">
          <ac:chgData name="maurerh.tmb22" userId="7aa1423c-8795-49e0-8989-d53f8102476c" providerId="ADAL" clId="{958FD702-2FC3-43C0-A6BE-841FF2108ED9}" dt="2025-04-01T11:31:25.347" v="346" actId="20577"/>
          <ac:spMkLst>
            <pc:docMk/>
            <pc:sldMk cId="3534934231" sldId="625"/>
            <ac:spMk id="42" creationId="{4358A22D-582F-467A-AD1C-A4E2A578FD4C}"/>
          </ac:spMkLst>
        </pc:spChg>
        <pc:graphicFrameChg chg="add mod modGraphic">
          <ac:chgData name="maurerh.tmb22" userId="7aa1423c-8795-49e0-8989-d53f8102476c" providerId="ADAL" clId="{958FD702-2FC3-43C0-A6BE-841FF2108ED9}" dt="2025-04-01T11:42:19.383" v="529" actId="1076"/>
          <ac:graphicFrameMkLst>
            <pc:docMk/>
            <pc:sldMk cId="3534934231" sldId="625"/>
            <ac:graphicFrameMk id="5" creationId="{4CA5DE10-9474-8AFA-70A9-7B46BD12F0D5}"/>
          </ac:graphicFrameMkLst>
        </pc:graphicFrameChg>
      </pc:sldChg>
      <pc:sldChg chg="modSp mod">
        <pc:chgData name="maurerh.tmb22" userId="7aa1423c-8795-49e0-8989-d53f8102476c" providerId="ADAL" clId="{958FD702-2FC3-43C0-A6BE-841FF2108ED9}" dt="2025-04-01T11:15:57.913" v="53" actId="20577"/>
        <pc:sldMkLst>
          <pc:docMk/>
          <pc:sldMk cId="2756117336" sldId="630"/>
        </pc:sldMkLst>
      </pc:sldChg>
      <pc:sldChg chg="addSp delSp modSp add mod">
        <pc:chgData name="maurerh.tmb22" userId="7aa1423c-8795-49e0-8989-d53f8102476c" providerId="ADAL" clId="{958FD702-2FC3-43C0-A6BE-841FF2108ED9}" dt="2025-04-01T11:59:29.238" v="544" actId="1076"/>
        <pc:sldMkLst>
          <pc:docMk/>
          <pc:sldMk cId="1433932889" sldId="636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8D5286F-F46C-4E2C-97AF-6B45DE4CB2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066E692-6480-48CC-8BCD-A7DF5C1F69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FEB490-C5F1-4FE5-B523-7E2A854CD119}" type="datetimeFigureOut">
              <a:rPr lang="de-DE" smtClean="0"/>
              <a:t>25.06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458393A-9752-4A74-9877-37793712D68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2DF026-F42B-4782-9457-5E48B4742A2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F6C2D2-50ED-4FF1-94DB-86311ACB8C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27807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ECEF2B-B444-4E6C-B710-FDFA372E266A}" type="datetimeFigureOut">
              <a:rPr lang="de-DE" smtClean="0"/>
              <a:t>25.06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B7BD1D-57F2-4AA2-9428-BF308BAFC72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1586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B7BD1D-57F2-4AA2-9428-BF308BAFC728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03411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B7BD1D-57F2-4AA2-9428-BF308BAFC728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60243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/>
              <a:t>Motivation der Gruppe war am höchsten</a:t>
            </a:r>
          </a:p>
          <a:p>
            <a:pPr marL="0" indent="0">
              <a:buFontTx/>
              <a:buNone/>
            </a:pPr>
            <a:endParaRPr lang="de-DE"/>
          </a:p>
          <a:p>
            <a:pPr marL="171450" indent="-171450">
              <a:buFontTx/>
              <a:buChar char="-"/>
            </a:pPr>
            <a:r>
              <a:rPr lang="de-DE"/>
              <a:t>Wiedererkennungswert für die DHBW am Besten</a:t>
            </a:r>
          </a:p>
          <a:p>
            <a:pPr marL="0" indent="0">
              <a:buFontTx/>
              <a:buNone/>
            </a:pPr>
            <a:endParaRPr lang="de-DE"/>
          </a:p>
          <a:p>
            <a:pPr marL="171450" indent="-171450">
              <a:buFontTx/>
              <a:buChar char="-"/>
            </a:pPr>
            <a:r>
              <a:rPr lang="de-DE"/>
              <a:t>Nach Marktrecherche </a:t>
            </a:r>
            <a:r>
              <a:rPr lang="de-DE">
                <a:sym typeface="Wingdings" panose="05000000000000000000" pitchFamily="2" charset="2"/>
              </a:rPr>
              <a:t> wachsender Markt für die Zielgrupp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B7BD1D-57F2-4AA2-9428-BF308BAFC728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26536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-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B7BD1D-57F2-4AA2-9428-BF308BAFC728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88099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/>
              <a:t>DHBW Logo steht im Vordergrund</a:t>
            </a:r>
          </a:p>
          <a:p>
            <a:pPr marL="0" indent="0">
              <a:buFontTx/>
              <a:buNone/>
            </a:pPr>
            <a:endParaRPr lang="de-DE"/>
          </a:p>
          <a:p>
            <a:pPr marL="171450" indent="-171450">
              <a:buFontTx/>
              <a:buChar char="-"/>
            </a:pPr>
            <a:r>
              <a:rPr lang="de-DE"/>
              <a:t>Funktionalität und Handlichkeit</a:t>
            </a:r>
          </a:p>
          <a:p>
            <a:pPr marL="171450" indent="-171450">
              <a:buFontTx/>
              <a:buChar char="-"/>
            </a:pPr>
            <a:endParaRPr lang="de-DE"/>
          </a:p>
          <a:p>
            <a:pPr marL="171450" indent="-171450">
              <a:buFontTx/>
              <a:buChar char="-"/>
            </a:pPr>
            <a:r>
              <a:rPr lang="de-DE"/>
              <a:t>Geringe Abnutzung und Witterungsbeständigkeit</a:t>
            </a:r>
          </a:p>
          <a:p>
            <a:pPr marL="171450" indent="-171450">
              <a:buFontTx/>
              <a:buChar char="-"/>
            </a:pPr>
            <a:endParaRPr lang="de-DE"/>
          </a:p>
          <a:p>
            <a:pPr marL="171450" indent="-171450">
              <a:buFontTx/>
              <a:buChar char="-"/>
            </a:pPr>
            <a:r>
              <a:rPr lang="de-DE"/>
              <a:t>Dicke: So Stabil wie nötig und so leicht und dünn wie möglich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B7BD1D-57F2-4AA2-9428-BF308BAFC728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20090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| Exter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292093E-44AE-4A88-A4CB-D23B1DD324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319" y="642855"/>
            <a:ext cx="7228674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2196AA1-313D-4990-8CC0-383A233A263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2351880"/>
            <a:ext cx="12192000" cy="4506119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 </a:t>
            </a:r>
          </a:p>
        </p:txBody>
      </p:sp>
      <p:cxnSp>
        <p:nvCxnSpPr>
          <p:cNvPr id="13" name="Gerade Verbindung 22">
            <a:extLst>
              <a:ext uri="{FF2B5EF4-FFF2-40B4-BE49-F238E27FC236}">
                <a16:creationId xmlns:a16="http://schemas.microsoft.com/office/drawing/2014/main" id="{1E2BE177-B8AE-4CA3-8B0C-241AD815C55F}"/>
              </a:ext>
            </a:extLst>
          </p:cNvPr>
          <p:cNvCxnSpPr>
            <a:cxnSpLocks/>
          </p:cNvCxnSpPr>
          <p:nvPr/>
        </p:nvCxnSpPr>
        <p:spPr>
          <a:xfrm>
            <a:off x="8512714" y="0"/>
            <a:ext cx="0" cy="130810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35">
            <a:extLst>
              <a:ext uri="{FF2B5EF4-FFF2-40B4-BE49-F238E27FC236}">
                <a16:creationId xmlns:a16="http://schemas.microsoft.com/office/drawing/2014/main" id="{9A76B5C1-E9F7-44AB-B776-CC664C7A0794}"/>
              </a:ext>
            </a:extLst>
          </p:cNvPr>
          <p:cNvCxnSpPr>
            <a:cxnSpLocks/>
          </p:cNvCxnSpPr>
          <p:nvPr/>
        </p:nvCxnSpPr>
        <p:spPr>
          <a:xfrm>
            <a:off x="8512714" y="1632585"/>
            <a:ext cx="0" cy="432088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7DAACFA-7C59-48D1-9F81-779220D25C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11763" y="642855"/>
            <a:ext cx="1524435" cy="5539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>
                <a:solidFill>
                  <a:srgbClr val="8A8A8A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Erstell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9328C91-FAF8-4C71-890F-C1FB2958BAA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8711762" y="1756296"/>
            <a:ext cx="1139607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de-DE" sz="1200" smtClean="0">
                <a:solidFill>
                  <a:srgbClr val="8A8A8A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>
              <a:buFont typeface="Arial" panose="020B0604020202020204" pitchFamily="34" charset="0"/>
              <a:buNone/>
            </a:pPr>
            <a:fld id="{59F5FB76-4A09-479F-9E8A-039C8811C15E}" type="datetime4">
              <a:rPr lang="de-DE" smtClean="0"/>
              <a:t>25. Juni 2025</a:t>
            </a:fld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F241B12-AFED-4016-A470-4C5CF08E7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525333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folie |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3672128A-9CD1-4BA0-8866-2DE4C8621BF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63E6CB3C-AA15-4066-87A4-1BC111AFD6D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518320" y="1631837"/>
            <a:ext cx="3521074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91B4FA4A-707E-4B21-8550-2A1CA445619E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4336655" y="1631837"/>
            <a:ext cx="3521074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66568BC8-CF70-4E83-B3D8-E4E070B4F8ED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8154989" y="1631837"/>
            <a:ext cx="3521074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12" name="Gerade Verbindung 71">
            <a:extLst>
              <a:ext uri="{FF2B5EF4-FFF2-40B4-BE49-F238E27FC236}">
                <a16:creationId xmlns:a16="http://schemas.microsoft.com/office/drawing/2014/main" id="{A31530B3-F348-4886-8DA8-C7DF27643531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C2411BF-A4DA-4EA6-AA41-57EDAE53F86F}"/>
              </a:ext>
            </a:extLst>
          </p:cNvPr>
          <p:cNvSpPr>
            <a:spLocks noGrp="1"/>
          </p:cNvSpPr>
          <p:nvPr>
            <p:ph type="dt" sz="half" idx="68"/>
          </p:nvPr>
        </p:nvSpPr>
        <p:spPr/>
        <p:txBody>
          <a:bodyPr/>
          <a:lstStyle/>
          <a:p>
            <a:fld id="{0883B8F2-0819-468C-90E5-97245453F505}" type="datetime4">
              <a:rPr lang="de-DE" smtClean="0"/>
              <a:t>25. Juni 2025</a:t>
            </a:fld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0D1249C-E538-4A32-BE76-858D924D54CE}"/>
              </a:ext>
            </a:extLst>
          </p:cNvPr>
          <p:cNvSpPr>
            <a:spLocks noGrp="1"/>
          </p:cNvSpPr>
          <p:nvPr>
            <p:ph type="sldNum" sz="quarter" idx="70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66297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folie |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6090A1F3-A7AB-42F7-9FBF-8736DC5882DB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78DED978-10E9-4C45-9AF8-D5BAE20E9625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518320" y="1631837"/>
            <a:ext cx="2570061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3CA966A3-1F04-42F3-AA58-C900F327C550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3380881" y="1631837"/>
            <a:ext cx="2570061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E9EB05F1-EE7A-473E-83D8-EA42061575EA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6243442" y="1631837"/>
            <a:ext cx="2570061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9D348FF-9AC7-4A00-B1A3-468BE3014FEC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106002" y="1631837"/>
            <a:ext cx="2570061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15" name="Gerade Verbindung 71">
            <a:extLst>
              <a:ext uri="{FF2B5EF4-FFF2-40B4-BE49-F238E27FC236}">
                <a16:creationId xmlns:a16="http://schemas.microsoft.com/office/drawing/2014/main" id="{9777B3E4-5C84-4ECF-BB4F-827EB0A4BCA6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6AB4FA3-3D7D-467C-A9E2-F0AD355E8FF7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D2A2CB64-6021-4726-9A47-28E9CA4542AC}" type="datetime4">
              <a:rPr lang="de-DE" smtClean="0"/>
              <a:t>25. Juni 2025</a:t>
            </a:fld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23FC128-F0EB-4C08-9299-AE8CF288858C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36145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folie | 4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276B4CC-8E3B-49AA-A6D3-2C309ED8CFE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4DC0976-C523-4842-8BFE-0A9CBF3B503A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18318" y="1631837"/>
            <a:ext cx="5433219" cy="2086521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DBBDED6D-1B2A-4452-8222-8F9BFC9EAEFF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518318" y="4006299"/>
            <a:ext cx="5433219" cy="2086521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2A5093DB-E40A-443C-AE2F-5BD6332BA4D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242844" y="1631837"/>
            <a:ext cx="5433219" cy="2086521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8E5BB036-1A1C-4EB9-AF21-69D3C12FF40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42844" y="4006299"/>
            <a:ext cx="5433219" cy="2086521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14" name="Gerade Verbindung 71">
            <a:extLst>
              <a:ext uri="{FF2B5EF4-FFF2-40B4-BE49-F238E27FC236}">
                <a16:creationId xmlns:a16="http://schemas.microsoft.com/office/drawing/2014/main" id="{402158F7-C9FB-49D1-A70D-91C0BFCA16BC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FDD6406-4BCE-49C6-9930-2BBBDB55DDC1}"/>
              </a:ext>
            </a:extLst>
          </p:cNvPr>
          <p:cNvSpPr>
            <a:spLocks noGrp="1"/>
          </p:cNvSpPr>
          <p:nvPr>
            <p:ph type="dt" sz="half" idx="72"/>
          </p:nvPr>
        </p:nvSpPr>
        <p:spPr/>
        <p:txBody>
          <a:bodyPr/>
          <a:lstStyle/>
          <a:p>
            <a:fld id="{9C925F69-B5D8-4FB5-93AA-F9AF88E20B2E}" type="datetime4">
              <a:rPr lang="de-DE" smtClean="0"/>
              <a:t>25. Juni 2025</a:t>
            </a:fld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7FA17DC-A574-4B2C-9825-B9FB8488632B}"/>
              </a:ext>
            </a:extLst>
          </p:cNvPr>
          <p:cNvSpPr>
            <a:spLocks noGrp="1"/>
          </p:cNvSpPr>
          <p:nvPr>
            <p:ph type="sldNum" sz="quarter" idx="74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65444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42847" y="1631837"/>
            <a:ext cx="5433216" cy="4464000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F8B81FA6-341F-4F98-BDCB-E4F6B6D12B40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219180E3-3297-4CBF-9A1C-BF98BA2B7514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518319" y="1631837"/>
            <a:ext cx="5433219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12" name="Gerade Verbindung 71">
            <a:extLst>
              <a:ext uri="{FF2B5EF4-FFF2-40B4-BE49-F238E27FC236}">
                <a16:creationId xmlns:a16="http://schemas.microsoft.com/office/drawing/2014/main" id="{8AD5A654-A7AA-4BE0-BEE4-79B9D17A50AE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943665-7B85-4275-8A8C-35729DEFB6A6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4626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 Bildfolie |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42847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DE207224-BD49-486F-AD1A-8E3330BDCF5D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9103918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cxnSp>
        <p:nvCxnSpPr>
          <p:cNvPr id="12" name="Gerade Verbindung 71">
            <a:extLst>
              <a:ext uri="{FF2B5EF4-FFF2-40B4-BE49-F238E27FC236}">
                <a16:creationId xmlns:a16="http://schemas.microsoft.com/office/drawing/2014/main" id="{F9229CDC-3BC6-41B6-92A7-3D626B3207F0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67019CAF-952D-4F3E-8D6F-25ACB42A0F4C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2BD66A5F-8890-45C7-AFA2-FBAFE51EAA5D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518319" y="1631837"/>
            <a:ext cx="5433219" cy="3618387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50776CE-C715-4BB6-9753-D24EE139A4F8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871538" y="5634172"/>
            <a:ext cx="1080000" cy="461665"/>
          </a:xfrm>
        </p:spPr>
        <p:txBody>
          <a:bodyPr wrap="square">
            <a:noAutofit/>
          </a:bodyPr>
          <a:lstStyle>
            <a:lvl1pPr algn="r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02</a:t>
            </a:r>
            <a:br>
              <a:rPr lang="de-DE"/>
            </a:br>
            <a:r>
              <a:rPr lang="de-DE"/>
              <a:t>Mastertextformat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0FA2D9FE-5416-445D-999A-5E09BE4B77B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502611" y="5634172"/>
            <a:ext cx="1080000" cy="461665"/>
          </a:xfrm>
        </p:spPr>
        <p:txBody>
          <a:bodyPr wrap="square">
            <a:noAutofit/>
          </a:bodyPr>
          <a:lstStyle>
            <a:lvl1pPr algn="r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01</a:t>
            </a:r>
            <a:br>
              <a:rPr lang="de-DE"/>
            </a:br>
            <a:r>
              <a:rPr lang="de-DE"/>
              <a:t>Mastertextformat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4758C8A2-BB5A-4369-8E47-1B3AD76831C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242847" y="5634172"/>
            <a:ext cx="342680" cy="461665"/>
          </a:xfrm>
        </p:spPr>
        <p:txBody>
          <a:bodyPr wrap="none">
            <a:noAutofit/>
          </a:bodyPr>
          <a:lstStyle>
            <a:lvl1pPr algn="r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EB3A890A-9CCC-4136-9288-897A93AE1F0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9103918" y="5634172"/>
            <a:ext cx="342680" cy="461665"/>
          </a:xfrm>
        </p:spPr>
        <p:txBody>
          <a:bodyPr wrap="none">
            <a:noAutofit/>
          </a:bodyPr>
          <a:lstStyle>
            <a:lvl1pPr algn="r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01</a:t>
            </a:r>
          </a:p>
        </p:txBody>
      </p:sp>
      <p:cxnSp>
        <p:nvCxnSpPr>
          <p:cNvPr id="20" name="Gerade Verbindung 71">
            <a:extLst>
              <a:ext uri="{FF2B5EF4-FFF2-40B4-BE49-F238E27FC236}">
                <a16:creationId xmlns:a16="http://schemas.microsoft.com/office/drawing/2014/main" id="{DCD48792-2155-489C-A782-DE9270EDD7B6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962FD86-F3E7-4444-A66E-F5DC528E3073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91797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518319" y="1631837"/>
            <a:ext cx="5433216" cy="4464000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9" name="Gerade Verbindung 71">
            <a:extLst>
              <a:ext uri="{FF2B5EF4-FFF2-40B4-BE49-F238E27FC236}">
                <a16:creationId xmlns:a16="http://schemas.microsoft.com/office/drawing/2014/main" id="{B373B185-DA03-4F17-9BE9-B716E16FE702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F1578027-2A9A-485E-94CA-26294C7CB327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02C0F8EF-24A8-485F-AAF4-B9275B071EB6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6242844" y="1631837"/>
            <a:ext cx="5433219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11" name="Gerade Verbindung 71">
            <a:extLst>
              <a:ext uri="{FF2B5EF4-FFF2-40B4-BE49-F238E27FC236}">
                <a16:creationId xmlns:a16="http://schemas.microsoft.com/office/drawing/2014/main" id="{D754BE1D-D807-41C3-AF04-11BE8305EB34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74DA190-BDAA-4CB1-8024-FA9327187178}"/>
              </a:ext>
            </a:extLst>
          </p:cNvPr>
          <p:cNvSpPr>
            <a:spLocks noGrp="1"/>
          </p:cNvSpPr>
          <p:nvPr>
            <p:ph type="sldNum" sz="quarter" idx="68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29737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- Textfolie |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518319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5A4E8199-7A92-4A66-8124-B13B4C014735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3379392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cxnSp>
        <p:nvCxnSpPr>
          <p:cNvPr id="12" name="Gerade Verbindung 71">
            <a:extLst>
              <a:ext uri="{FF2B5EF4-FFF2-40B4-BE49-F238E27FC236}">
                <a16:creationId xmlns:a16="http://schemas.microsoft.com/office/drawing/2014/main" id="{507CC524-2144-4589-B013-A85FB1062C25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061F6D30-1E0B-46ED-9FBA-4F7AF9D857E8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E782CB96-581D-4138-8E6D-A203BF9A3FAC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6242844" y="1631837"/>
            <a:ext cx="5433219" cy="3618392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CDA597C6-0A4F-4BA3-9D9F-D018CC3CEB6B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611773" y="5634172"/>
            <a:ext cx="1080000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>
                <a:latin typeface="ZEISS Frutiger Next W1G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02</a:t>
            </a:r>
            <a:br>
              <a:rPr lang="de-DE"/>
            </a:br>
            <a:r>
              <a:rPr lang="de-DE"/>
              <a:t>Mastertextformat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7BB86B27-C1F4-4CF2-B198-5D4BFE7A1B2D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2846" y="5634172"/>
            <a:ext cx="1080000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>
                <a:latin typeface="ZEISS Frutiger Next W1G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01</a:t>
            </a:r>
            <a:br>
              <a:rPr lang="de-DE"/>
            </a:br>
            <a:r>
              <a:rPr lang="de-DE"/>
              <a:t>Mastertextformat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EB97C8C8-4903-4649-A7C4-146F348AE411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747784" y="5634172"/>
            <a:ext cx="342680" cy="461665"/>
          </a:xfrm>
        </p:spPr>
        <p:txBody>
          <a:bodyPr wrap="none">
            <a:noAutofit/>
          </a:bodyPr>
          <a:lstStyle>
            <a:lvl1pPr algn="l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6F952D61-AD88-4D90-9FD3-D4025F3F52B4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608857" y="5634172"/>
            <a:ext cx="342680" cy="461665"/>
          </a:xfrm>
        </p:spPr>
        <p:txBody>
          <a:bodyPr wrap="none">
            <a:noAutofit/>
          </a:bodyPr>
          <a:lstStyle>
            <a:lvl1pPr algn="l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01</a:t>
            </a:r>
          </a:p>
        </p:txBody>
      </p:sp>
      <p:cxnSp>
        <p:nvCxnSpPr>
          <p:cNvPr id="21" name="Gerade Verbindung 71">
            <a:extLst>
              <a:ext uri="{FF2B5EF4-FFF2-40B4-BE49-F238E27FC236}">
                <a16:creationId xmlns:a16="http://schemas.microsoft.com/office/drawing/2014/main" id="{9F0A74BF-6F8E-4358-901D-D493ED7F05CC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838FAD-B7B0-40C8-A084-8E7E552AD989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99832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- Textfolie | 3x Bild, 1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6E754CB4-F023-45A0-B611-0ED33750D9DF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6243442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6090A1F3-A7AB-42F7-9FBF-8736DC5882DB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9D348FF-9AC7-4A00-B1A3-468BE3014FEC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106002" y="1631837"/>
            <a:ext cx="2570061" cy="3618387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08BEA3D8-5EE9-4798-8C5D-DB778BA72105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518319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5D5B8114-B5D9-41DA-B646-7C160DB49805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3380880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7ADB94BB-27AF-4A29-A952-D0905290E0F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106001" y="5634172"/>
            <a:ext cx="2570061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>
                <a:latin typeface="ZEISS Frutiger Next W1G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Mastertextformat</a:t>
            </a:r>
            <a:br>
              <a:rPr lang="de-DE"/>
            </a:br>
            <a:r>
              <a:rPr lang="de-DE"/>
              <a:t>bearbeiten</a:t>
            </a:r>
          </a:p>
        </p:txBody>
      </p:sp>
      <p:cxnSp>
        <p:nvCxnSpPr>
          <p:cNvPr id="14" name="Gerade Verbindung 71">
            <a:extLst>
              <a:ext uri="{FF2B5EF4-FFF2-40B4-BE49-F238E27FC236}">
                <a16:creationId xmlns:a16="http://schemas.microsoft.com/office/drawing/2014/main" id="{156DDED1-AB20-4327-B15A-E1C685C766CA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C5EAE03-4888-4842-BFB8-97CBB9A429F0}"/>
              </a:ext>
            </a:extLst>
          </p:cNvPr>
          <p:cNvSpPr>
            <a:spLocks noGrp="1"/>
          </p:cNvSpPr>
          <p:nvPr>
            <p:ph type="sldNum" sz="quarter" idx="75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08704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- Textfolie | 2x Bild, 2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6E754CB4-F023-45A0-B611-0ED33750D9DF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6243442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6090A1F3-A7AB-42F7-9FBF-8736DC5882DB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9D348FF-9AC7-4A00-B1A3-468BE3014FEC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106002" y="1631837"/>
            <a:ext cx="2570061" cy="3618387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08BEA3D8-5EE9-4798-8C5D-DB778BA72105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518319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7ADB94BB-27AF-4A29-A952-D0905290E0F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106001" y="5634172"/>
            <a:ext cx="2570061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>
                <a:latin typeface="ZEISS Frutiger Next W1G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Mastertextformat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4E465F10-F1D4-4895-B962-24BDBDE68DC0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3380880" y="1631837"/>
            <a:ext cx="2570061" cy="3618387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BD1C0236-2D51-4C28-B36B-9C19644B9B5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380880" y="5634172"/>
            <a:ext cx="2570061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>
                <a:latin typeface="ZEISS Frutiger Next W1G"/>
                <a:cs typeface="Arial" panose="020B0604020202020204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Mastertextformat</a:t>
            </a:r>
            <a:br>
              <a:rPr lang="de-DE"/>
            </a:br>
            <a:r>
              <a:rPr lang="de-DE"/>
              <a:t>bearbeiten</a:t>
            </a:r>
          </a:p>
        </p:txBody>
      </p:sp>
      <p:cxnSp>
        <p:nvCxnSpPr>
          <p:cNvPr id="16" name="Gerade Verbindung 71">
            <a:extLst>
              <a:ext uri="{FF2B5EF4-FFF2-40B4-BE49-F238E27FC236}">
                <a16:creationId xmlns:a16="http://schemas.microsoft.com/office/drawing/2014/main" id="{B80848F1-2462-4919-81BF-023DB1F5427B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5F2D4D1-58F5-41C5-A804-52C04C2A0B5D}"/>
              </a:ext>
            </a:extLst>
          </p:cNvPr>
          <p:cNvSpPr>
            <a:spLocks noGrp="1"/>
          </p:cNvSpPr>
          <p:nvPr>
            <p:ph type="sldNum" sz="quarter" idx="7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5814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- Textfolie | 2x Bild, 2x Text - unter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276B4CC-8E3B-49AA-A6D3-2C309ED8CFE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2A5093DB-E40A-443C-AE2F-5BD6332BA4D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242844" y="1631837"/>
            <a:ext cx="5433219" cy="2086521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8E5BB036-1A1C-4EB9-AF21-69D3C12FF40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42844" y="4006299"/>
            <a:ext cx="5433219" cy="2086521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773FBE26-823C-44A4-9918-6F7FC142C360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518318" y="1631837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F2E74611-DA65-4DA5-8289-B430E76A77AF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518318" y="4006299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cxnSp>
        <p:nvCxnSpPr>
          <p:cNvPr id="15" name="Gerade Verbindung 71">
            <a:extLst>
              <a:ext uri="{FF2B5EF4-FFF2-40B4-BE49-F238E27FC236}">
                <a16:creationId xmlns:a16="http://schemas.microsoft.com/office/drawing/2014/main" id="{7F304551-C66B-4CDC-802C-E89380C7CAF2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F0C0F5E-7238-4B4A-AC7B-126DDC533F68}"/>
              </a:ext>
            </a:extLst>
          </p:cNvPr>
          <p:cNvSpPr>
            <a:spLocks noGrp="1"/>
          </p:cNvSpPr>
          <p:nvPr>
            <p:ph type="sldNum" sz="quarter" idx="7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6153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| Exter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92DD91-EAE8-4850-A1F1-29F8A7A57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213089"/>
            <a:ext cx="11157744" cy="738664"/>
          </a:xfrm>
        </p:spPr>
        <p:txBody>
          <a:bodyPr anchor="b" anchorCtr="0"/>
          <a:lstStyle>
            <a:lvl1pPr>
              <a:defRPr sz="48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F52AEE9E-B08F-4C0A-BEEE-04C7FFB48E7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8319" y="2872085"/>
            <a:ext cx="11157744" cy="738664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48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1" name="Textplatzhalter 14">
            <a:extLst>
              <a:ext uri="{FF2B5EF4-FFF2-40B4-BE49-F238E27FC236}">
                <a16:creationId xmlns:a16="http://schemas.microsoft.com/office/drawing/2014/main" id="{501BEDEB-A8AE-4EFD-9CDF-207454EBAE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9" y="4963183"/>
            <a:ext cx="4319999" cy="184666"/>
          </a:xfrm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Ersteller</a:t>
            </a:r>
          </a:p>
        </p:txBody>
      </p:sp>
      <p:sp>
        <p:nvSpPr>
          <p:cNvPr id="52" name="Textplatzhalter 14">
            <a:extLst>
              <a:ext uri="{FF2B5EF4-FFF2-40B4-BE49-F238E27FC236}">
                <a16:creationId xmlns:a16="http://schemas.microsoft.com/office/drawing/2014/main" id="{D7F978A2-D352-4AAC-BEB1-0402A13EE7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9" y="5139395"/>
            <a:ext cx="4319999" cy="184666"/>
          </a:xfrm>
        </p:spPr>
        <p:txBody>
          <a:bodyPr>
            <a:spAutoFit/>
          </a:bodyPr>
          <a:lstStyle>
            <a:lvl1pPr>
              <a:defRPr sz="1200" b="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Abteilung</a:t>
            </a:r>
          </a:p>
        </p:txBody>
      </p:sp>
      <p:cxnSp>
        <p:nvCxnSpPr>
          <p:cNvPr id="53" name="Gerade Verbindung 22">
            <a:extLst>
              <a:ext uri="{FF2B5EF4-FFF2-40B4-BE49-F238E27FC236}">
                <a16:creationId xmlns:a16="http://schemas.microsoft.com/office/drawing/2014/main" id="{9D058BB7-35BD-4743-A2CE-335778ABA86A}"/>
              </a:ext>
            </a:extLst>
          </p:cNvPr>
          <p:cNvCxnSpPr>
            <a:cxnSpLocks/>
          </p:cNvCxnSpPr>
          <p:nvPr/>
        </p:nvCxnSpPr>
        <p:spPr>
          <a:xfrm>
            <a:off x="518319" y="4887206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22">
            <a:extLst>
              <a:ext uri="{FF2B5EF4-FFF2-40B4-BE49-F238E27FC236}">
                <a16:creationId xmlns:a16="http://schemas.microsoft.com/office/drawing/2014/main" id="{89ECB648-6558-4C1A-B652-7EF5CAECC96D}"/>
              </a:ext>
            </a:extLst>
          </p:cNvPr>
          <p:cNvCxnSpPr>
            <a:cxnSpLocks/>
          </p:cNvCxnSpPr>
          <p:nvPr userDrawn="1"/>
        </p:nvCxnSpPr>
        <p:spPr>
          <a:xfrm>
            <a:off x="518319" y="6390694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Datumsplatzhalter 1">
            <a:extLst>
              <a:ext uri="{FF2B5EF4-FFF2-40B4-BE49-F238E27FC236}">
                <a16:creationId xmlns:a16="http://schemas.microsoft.com/office/drawing/2014/main" id="{2A4B3BE6-913A-4465-BEEB-46F60DD5DA84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515937" y="4626564"/>
            <a:ext cx="1153008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de-DE" sz="1200" b="1" smtClean="0">
                <a:latin typeface="ZEISS Frutiger Next W1G"/>
                <a:cs typeface="Arial" panose="020B0604020202020204" pitchFamily="34" charset="0"/>
              </a:defRPr>
            </a:lvl1pPr>
          </a:lstStyle>
          <a:p>
            <a:pPr>
              <a:spcAft>
                <a:spcPts val="800"/>
              </a:spcAft>
              <a:buFont typeface="Arial" panose="020B0604020202020204" pitchFamily="34" charset="0"/>
              <a:buNone/>
            </a:pPr>
            <a:fld id="{7AB30B11-C5E5-4B58-8B44-A7D386B62184}" type="datetime4">
              <a:rPr lang="de-DE" smtClean="0"/>
              <a:t>25. Juni 2025</a:t>
            </a:fld>
            <a:endParaRPr lang="de-DE"/>
          </a:p>
        </p:txBody>
      </p: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B9B08A74-6918-4896-B3CC-5EC9B14AF7AF}"/>
              </a:ext>
            </a:extLst>
          </p:cNvPr>
          <p:cNvGrpSpPr/>
          <p:nvPr userDrawn="1"/>
        </p:nvGrpSpPr>
        <p:grpSpPr>
          <a:xfrm>
            <a:off x="299275" y="-697714"/>
            <a:ext cx="11375605" cy="411956"/>
            <a:chOff x="299275" y="6944502"/>
            <a:chExt cx="11375605" cy="411956"/>
          </a:xfrm>
        </p:grpSpPr>
        <p:grpSp>
          <p:nvGrpSpPr>
            <p:cNvPr id="47" name="Gruppieren 46">
              <a:extLst>
                <a:ext uri="{FF2B5EF4-FFF2-40B4-BE49-F238E27FC236}">
                  <a16:creationId xmlns:a16="http://schemas.microsoft.com/office/drawing/2014/main" id="{10CDC35F-3363-4C6A-800A-D19612163477}"/>
                </a:ext>
              </a:extLst>
            </p:cNvPr>
            <p:cNvGrpSpPr/>
            <p:nvPr/>
          </p:nvGrpSpPr>
          <p:grpSpPr>
            <a:xfrm rot="16200000">
              <a:off x="2016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66" name="Gerader Verbinder 65">
                <a:extLst>
                  <a:ext uri="{FF2B5EF4-FFF2-40B4-BE49-F238E27FC236}">
                    <a16:creationId xmlns:a16="http://schemas.microsoft.com/office/drawing/2014/main" id="{C0943440-DDFE-469F-B9B5-0E58AD6A924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7185C30C-099F-4E61-ABB9-CDE19474EC5B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  <p:grpSp>
          <p:nvGrpSpPr>
            <p:cNvPr id="49" name="Gruppieren 48">
              <a:extLst>
                <a:ext uri="{FF2B5EF4-FFF2-40B4-BE49-F238E27FC236}">
                  <a16:creationId xmlns:a16="http://schemas.microsoft.com/office/drawing/2014/main" id="{2665B96F-96D0-4AFB-989F-365519FA8C38}"/>
                </a:ext>
              </a:extLst>
            </p:cNvPr>
            <p:cNvGrpSpPr/>
            <p:nvPr/>
          </p:nvGrpSpPr>
          <p:grpSpPr>
            <a:xfrm rot="16200000">
              <a:off x="56372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62" name="Gerader Verbinder 61">
                <a:extLst>
                  <a:ext uri="{FF2B5EF4-FFF2-40B4-BE49-F238E27FC236}">
                    <a16:creationId xmlns:a16="http://schemas.microsoft.com/office/drawing/2014/main" id="{A72BC813-A3E2-4DFF-A52D-0322177253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Textfeld 62">
                <a:extLst>
                  <a:ext uri="{FF2B5EF4-FFF2-40B4-BE49-F238E27FC236}">
                    <a16:creationId xmlns:a16="http://schemas.microsoft.com/office/drawing/2014/main" id="{EF28719C-6C46-425F-8047-859630BEDBCA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34D83414-AF9D-4E67-869D-417D60D91887}"/>
                </a:ext>
              </a:extLst>
            </p:cNvPr>
            <p:cNvGrpSpPr/>
            <p:nvPr/>
          </p:nvGrpSpPr>
          <p:grpSpPr>
            <a:xfrm rot="5400000">
              <a:off x="6093326" y="7042149"/>
              <a:ext cx="411956" cy="216662"/>
              <a:chOff x="-615197" y="4346120"/>
              <a:chExt cx="411956" cy="216662"/>
            </a:xfrm>
          </p:grpSpPr>
          <p:cxnSp>
            <p:nvCxnSpPr>
              <p:cNvPr id="60" name="Gerader Verbinder 59">
                <a:extLst>
                  <a:ext uri="{FF2B5EF4-FFF2-40B4-BE49-F238E27FC236}">
                    <a16:creationId xmlns:a16="http://schemas.microsoft.com/office/drawing/2014/main" id="{2C52F9F0-652B-45E8-95BB-71427B24CAC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Textfeld 60">
                <a:extLst>
                  <a:ext uri="{FF2B5EF4-FFF2-40B4-BE49-F238E27FC236}">
                    <a16:creationId xmlns:a16="http://schemas.microsoft.com/office/drawing/2014/main" id="{95837572-3495-4B31-AED9-21AC0EEC9FED}"/>
                  </a:ext>
                </a:extLst>
              </p:cNvPr>
              <p:cNvSpPr txBox="1"/>
              <p:nvPr/>
            </p:nvSpPr>
            <p:spPr>
              <a:xfrm rot="10800000">
                <a:off x="-615197" y="4346120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CEBE2F24-DC34-4248-9FDD-4B998A1B05D4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40A74123-125F-4A91-996F-8CA721E84DE2}"/>
                </a:ext>
              </a:extLst>
            </p:cNvPr>
            <p:cNvGrpSpPr/>
            <p:nvPr/>
          </p:nvGrpSpPr>
          <p:grpSpPr>
            <a:xfrm rot="16200000">
              <a:off x="11360571" y="7042149"/>
              <a:ext cx="411956" cy="216662"/>
              <a:chOff x="-615197" y="4295013"/>
              <a:chExt cx="411956" cy="216662"/>
            </a:xfrm>
          </p:grpSpPr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5D3FB217-A7F1-4465-9D59-77BCEB055C9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4935C03B-E9A2-4DE0-931D-CD9D14E48AE7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</p:grp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351DE1A0-FBFF-46D0-8348-2048EF4045D8}"/>
              </a:ext>
            </a:extLst>
          </p:cNvPr>
          <p:cNvGrpSpPr/>
          <p:nvPr userDrawn="1"/>
        </p:nvGrpSpPr>
        <p:grpSpPr>
          <a:xfrm>
            <a:off x="-697714" y="80201"/>
            <a:ext cx="411956" cy="6729801"/>
            <a:chOff x="-502267" y="80201"/>
            <a:chExt cx="411956" cy="6729801"/>
          </a:xfrm>
        </p:grpSpPr>
        <p:grpSp>
          <p:nvGrpSpPr>
            <p:cNvPr id="101" name="Gruppieren 100">
              <a:extLst>
                <a:ext uri="{FF2B5EF4-FFF2-40B4-BE49-F238E27FC236}">
                  <a16:creationId xmlns:a16="http://schemas.microsoft.com/office/drawing/2014/main" id="{02FD3DF8-3D25-40DA-B56C-2DBFAE084507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16662"/>
              <a:chOff x="-615197" y="4452994"/>
              <a:chExt cx="411956" cy="216662"/>
            </a:xfrm>
          </p:grpSpPr>
          <p:sp>
            <p:nvSpPr>
              <p:cNvPr id="117" name="Textfeld 116">
                <a:extLst>
                  <a:ext uri="{FF2B5EF4-FFF2-40B4-BE49-F238E27FC236}">
                    <a16:creationId xmlns:a16="http://schemas.microsoft.com/office/drawing/2014/main" id="{0F0F86A8-95B3-4BD2-B06D-9BCD7756ABF4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92</a:t>
                </a:r>
              </a:p>
            </p:txBody>
          </p:sp>
          <p:cxnSp>
            <p:nvCxnSpPr>
              <p:cNvPr id="118" name="Gerader Verbinder 117">
                <a:extLst>
                  <a:ext uri="{FF2B5EF4-FFF2-40B4-BE49-F238E27FC236}">
                    <a16:creationId xmlns:a16="http://schemas.microsoft.com/office/drawing/2014/main" id="{8E38CADC-1D31-4B5D-98B0-9CABB15624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" name="Gruppieren 101">
              <a:extLst>
                <a:ext uri="{FF2B5EF4-FFF2-40B4-BE49-F238E27FC236}">
                  <a16:creationId xmlns:a16="http://schemas.microsoft.com/office/drawing/2014/main" id="{BA01828F-49E3-4DD1-8A18-488DC0EC04E9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115" name="Gerader Verbinder 114">
                <a:extLst>
                  <a:ext uri="{FF2B5EF4-FFF2-40B4-BE49-F238E27FC236}">
                    <a16:creationId xmlns:a16="http://schemas.microsoft.com/office/drawing/2014/main" id="{7F807E15-F6EF-4990-B8E4-5280D91908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Textfeld 115">
                <a:extLst>
                  <a:ext uri="{FF2B5EF4-FFF2-40B4-BE49-F238E27FC236}">
                    <a16:creationId xmlns:a16="http://schemas.microsoft.com/office/drawing/2014/main" id="{DDBAFB5F-C33D-4EFE-844A-DF67DBF78A9C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,40</a:t>
                </a:r>
              </a:p>
            </p:txBody>
          </p:sp>
        </p:grpSp>
        <p:grpSp>
          <p:nvGrpSpPr>
            <p:cNvPr id="103" name="Gruppieren 102">
              <a:extLst>
                <a:ext uri="{FF2B5EF4-FFF2-40B4-BE49-F238E27FC236}">
                  <a16:creationId xmlns:a16="http://schemas.microsoft.com/office/drawing/2014/main" id="{C12AE862-D696-42EE-909F-D64C492CBCCA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113" name="Gerader Verbinder 112">
                <a:extLst>
                  <a:ext uri="{FF2B5EF4-FFF2-40B4-BE49-F238E27FC236}">
                    <a16:creationId xmlns:a16="http://schemas.microsoft.com/office/drawing/2014/main" id="{E0FEF2C4-C2F3-4A23-8C07-B061DD0012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4" name="Textfeld 113">
                <a:extLst>
                  <a:ext uri="{FF2B5EF4-FFF2-40B4-BE49-F238E27FC236}">
                    <a16:creationId xmlns:a16="http://schemas.microsoft.com/office/drawing/2014/main" id="{5D8511BC-B7F5-4BC6-A815-5C125B4F276D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00</a:t>
                </a:r>
              </a:p>
            </p:txBody>
          </p:sp>
        </p:grpSp>
        <p:grpSp>
          <p:nvGrpSpPr>
            <p:cNvPr id="104" name="Gruppieren 103">
              <a:extLst>
                <a:ext uri="{FF2B5EF4-FFF2-40B4-BE49-F238E27FC236}">
                  <a16:creationId xmlns:a16="http://schemas.microsoft.com/office/drawing/2014/main" id="{DA380AA3-7C1A-45EC-8A6C-CBD47FB056A1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111" name="Gerader Verbinder 110">
                <a:extLst>
                  <a:ext uri="{FF2B5EF4-FFF2-40B4-BE49-F238E27FC236}">
                    <a16:creationId xmlns:a16="http://schemas.microsoft.com/office/drawing/2014/main" id="{8C5A3431-647C-47F6-BCEE-D6F56C64EE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2" name="Textfeld 111">
                <a:extLst>
                  <a:ext uri="{FF2B5EF4-FFF2-40B4-BE49-F238E27FC236}">
                    <a16:creationId xmlns:a16="http://schemas.microsoft.com/office/drawing/2014/main" id="{B736E92D-E681-43BE-A592-348085922C94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,60</a:t>
                </a:r>
              </a:p>
            </p:txBody>
          </p:sp>
        </p:grpSp>
        <p:grpSp>
          <p:nvGrpSpPr>
            <p:cNvPr id="105" name="Gruppieren 104">
              <a:extLst>
                <a:ext uri="{FF2B5EF4-FFF2-40B4-BE49-F238E27FC236}">
                  <a16:creationId xmlns:a16="http://schemas.microsoft.com/office/drawing/2014/main" id="{C638EB2F-3EE6-4C30-8EA4-8D94CA2AAB13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109" name="Gerader Verbinder 108">
                <a:extLst>
                  <a:ext uri="{FF2B5EF4-FFF2-40B4-BE49-F238E27FC236}">
                    <a16:creationId xmlns:a16="http://schemas.microsoft.com/office/drawing/2014/main" id="{83505431-2E6D-4471-A2FB-429BF6CAF35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0" name="Textfeld 109">
                <a:extLst>
                  <a:ext uri="{FF2B5EF4-FFF2-40B4-BE49-F238E27FC236}">
                    <a16:creationId xmlns:a16="http://schemas.microsoft.com/office/drawing/2014/main" id="{73E21654-6ACF-49D3-9B56-11E08AB624A2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,00</a:t>
                </a:r>
              </a:p>
            </p:txBody>
          </p:sp>
        </p:grpSp>
        <p:grpSp>
          <p:nvGrpSpPr>
            <p:cNvPr id="106" name="Gruppieren 105">
              <a:extLst>
                <a:ext uri="{FF2B5EF4-FFF2-40B4-BE49-F238E27FC236}">
                  <a16:creationId xmlns:a16="http://schemas.microsoft.com/office/drawing/2014/main" id="{C6A401CF-3A9B-4C6E-A900-71B9790430DC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107" name="Gerader Verbinder 106">
                <a:extLst>
                  <a:ext uri="{FF2B5EF4-FFF2-40B4-BE49-F238E27FC236}">
                    <a16:creationId xmlns:a16="http://schemas.microsoft.com/office/drawing/2014/main" id="{3A04E890-52B7-4B48-89D4-BB93B4B54B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8" name="Textfeld 107">
                <a:extLst>
                  <a:ext uri="{FF2B5EF4-FFF2-40B4-BE49-F238E27FC236}">
                    <a16:creationId xmlns:a16="http://schemas.microsoft.com/office/drawing/2014/main" id="{CD3C7EB7-2F3F-42D0-A4E9-D77AA3C72338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70</a:t>
                </a:r>
              </a:p>
            </p:txBody>
          </p:sp>
        </p:grp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E77897C7-512E-9BBE-0513-C8232D5D72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8083" y="188530"/>
            <a:ext cx="2930662" cy="1223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0643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ld- Textfolie | 2x Bild, 2x Text -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276B4CC-8E3B-49AA-A6D3-2C309ED8CFE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8E5BB036-1A1C-4EB9-AF21-69D3C12FF40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42844" y="4006299"/>
            <a:ext cx="5433219" cy="2086521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773FBE26-823C-44A4-9918-6F7FC142C360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518318" y="1631837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870DAB1F-D24A-4A98-83A6-AFA36A6FC73E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6242844" y="1631837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 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A7040DB9-A329-4F37-A50E-67E566A8CCC6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518318" y="4006299"/>
            <a:ext cx="5433219" cy="2086521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14" name="Gerade Verbindung 71">
            <a:extLst>
              <a:ext uri="{FF2B5EF4-FFF2-40B4-BE49-F238E27FC236}">
                <a16:creationId xmlns:a16="http://schemas.microsoft.com/office/drawing/2014/main" id="{C6865517-E7AB-479B-B301-361C9726E50F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1524C14-E513-43FD-AAD7-E2FF2C1AC8FE}"/>
              </a:ext>
            </a:extLst>
          </p:cNvPr>
          <p:cNvSpPr>
            <a:spLocks noGrp="1"/>
          </p:cNvSpPr>
          <p:nvPr>
            <p:ph type="sldNum" sz="quarter" idx="77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66376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 | Freie Gestal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5D2E05C-DF1C-4C7B-B878-BC14435387A5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 Verbindung 71">
            <a:extLst>
              <a:ext uri="{FF2B5EF4-FFF2-40B4-BE49-F238E27FC236}">
                <a16:creationId xmlns:a16="http://schemas.microsoft.com/office/drawing/2014/main" id="{7DF7DF9F-1FE6-4E11-A1E5-13620458417C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0D9C1F-041C-4A29-8F89-6A9A0C45C77E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95943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Grafik 76">
            <a:extLst>
              <a:ext uri="{FF2B5EF4-FFF2-40B4-BE49-F238E27FC236}">
                <a16:creationId xmlns:a16="http://schemas.microsoft.com/office/drawing/2014/main" id="{D3DB975A-CF9E-4989-8391-5B4E38D67AD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54" t="9897" r="11650" b="5372"/>
          <a:stretch/>
        </p:blipFill>
        <p:spPr>
          <a:xfrm>
            <a:off x="1234845" y="4475255"/>
            <a:ext cx="1309823" cy="1575102"/>
          </a:xfrm>
          <a:prstGeom prst="rect">
            <a:avLst/>
          </a:prstGeom>
        </p:spPr>
      </p:pic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B3215F83-2EC1-4CAC-953F-78BF5F10A0D6}"/>
              </a:ext>
            </a:extLst>
          </p:cNvPr>
          <p:cNvGrpSpPr/>
          <p:nvPr userDrawn="1"/>
        </p:nvGrpSpPr>
        <p:grpSpPr>
          <a:xfrm>
            <a:off x="299275" y="-697714"/>
            <a:ext cx="11375605" cy="411956"/>
            <a:chOff x="299275" y="6944502"/>
            <a:chExt cx="11375605" cy="411956"/>
          </a:xfrm>
        </p:grpSpPr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EC69B38E-3636-4F61-BC0D-11B8EC2035C3}"/>
                </a:ext>
              </a:extLst>
            </p:cNvPr>
            <p:cNvGrpSpPr/>
            <p:nvPr/>
          </p:nvGrpSpPr>
          <p:grpSpPr>
            <a:xfrm rot="16200000">
              <a:off x="2016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49" name="Gerader Verbinder 48">
                <a:extLst>
                  <a:ext uri="{FF2B5EF4-FFF2-40B4-BE49-F238E27FC236}">
                    <a16:creationId xmlns:a16="http://schemas.microsoft.com/office/drawing/2014/main" id="{7FA8B8E5-9220-4F6C-86EE-E001B5D669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0" name="Textfeld 49">
                <a:extLst>
                  <a:ext uri="{FF2B5EF4-FFF2-40B4-BE49-F238E27FC236}">
                    <a16:creationId xmlns:a16="http://schemas.microsoft.com/office/drawing/2014/main" id="{1BC8D282-94B0-4E74-9FCB-AC7D976B4F4D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64951DA6-F963-4A0C-96A1-7528EEA0610B}"/>
                </a:ext>
              </a:extLst>
            </p:cNvPr>
            <p:cNvGrpSpPr/>
            <p:nvPr/>
          </p:nvGrpSpPr>
          <p:grpSpPr>
            <a:xfrm rot="16200000">
              <a:off x="56372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47" name="Gerader Verbinder 46">
                <a:extLst>
                  <a:ext uri="{FF2B5EF4-FFF2-40B4-BE49-F238E27FC236}">
                    <a16:creationId xmlns:a16="http://schemas.microsoft.com/office/drawing/2014/main" id="{B609D040-0754-4342-B1E2-54FC0A4E1B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Textfeld 47">
                <a:extLst>
                  <a:ext uri="{FF2B5EF4-FFF2-40B4-BE49-F238E27FC236}">
                    <a16:creationId xmlns:a16="http://schemas.microsoft.com/office/drawing/2014/main" id="{D431B656-0234-4F51-AC65-009A508354BE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EBE74C80-4D3E-4301-A865-31956C228E22}"/>
                </a:ext>
              </a:extLst>
            </p:cNvPr>
            <p:cNvGrpSpPr/>
            <p:nvPr/>
          </p:nvGrpSpPr>
          <p:grpSpPr>
            <a:xfrm rot="5400000">
              <a:off x="6093326" y="7042149"/>
              <a:ext cx="411956" cy="216662"/>
              <a:chOff x="-615197" y="4346120"/>
              <a:chExt cx="411956" cy="216662"/>
            </a:xfrm>
          </p:grpSpPr>
          <p:cxnSp>
            <p:nvCxnSpPr>
              <p:cNvPr id="45" name="Gerader Verbinder 44">
                <a:extLst>
                  <a:ext uri="{FF2B5EF4-FFF2-40B4-BE49-F238E27FC236}">
                    <a16:creationId xmlns:a16="http://schemas.microsoft.com/office/drawing/2014/main" id="{A7686FD8-C641-4673-95C0-F05C1B71866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77525E5E-2FC8-4E8B-84DF-E406B4374875}"/>
                  </a:ext>
                </a:extLst>
              </p:cNvPr>
              <p:cNvSpPr txBox="1"/>
              <p:nvPr/>
            </p:nvSpPr>
            <p:spPr>
              <a:xfrm rot="10800000">
                <a:off x="-615197" y="4346120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51EE6560-8FBF-4C36-90A5-9F6D9B6B8604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B419D3BC-DFC0-4A03-922D-32827ABA0832}"/>
                </a:ext>
              </a:extLst>
            </p:cNvPr>
            <p:cNvGrpSpPr/>
            <p:nvPr/>
          </p:nvGrpSpPr>
          <p:grpSpPr>
            <a:xfrm rot="16200000">
              <a:off x="11360571" y="7042149"/>
              <a:ext cx="411956" cy="216662"/>
              <a:chOff x="-615197" y="4295013"/>
              <a:chExt cx="411956" cy="216662"/>
            </a:xfrm>
          </p:grpSpPr>
          <p:cxnSp>
            <p:nvCxnSpPr>
              <p:cNvPr id="43" name="Gerader Verbinder 42">
                <a:extLst>
                  <a:ext uri="{FF2B5EF4-FFF2-40B4-BE49-F238E27FC236}">
                    <a16:creationId xmlns:a16="http://schemas.microsoft.com/office/drawing/2014/main" id="{744B679A-6F28-4AFB-8BF5-4305049195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Textfeld 43">
                <a:extLst>
                  <a:ext uri="{FF2B5EF4-FFF2-40B4-BE49-F238E27FC236}">
                    <a16:creationId xmlns:a16="http://schemas.microsoft.com/office/drawing/2014/main" id="{F34B0ECC-B5B1-4DA1-A3F1-4B04F49D3CB5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FCB7BD6C-26FB-4151-A97E-8A2A947FCB9E}"/>
              </a:ext>
            </a:extLst>
          </p:cNvPr>
          <p:cNvGrpSpPr/>
          <p:nvPr userDrawn="1"/>
        </p:nvGrpSpPr>
        <p:grpSpPr>
          <a:xfrm>
            <a:off x="-697714" y="80201"/>
            <a:ext cx="411956" cy="6729801"/>
            <a:chOff x="-502267" y="80201"/>
            <a:chExt cx="411956" cy="6729801"/>
          </a:xfrm>
        </p:grpSpPr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36CAC4A9-FA2E-4A55-9CB1-1DB0EAAB5442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16662"/>
              <a:chOff x="-615197" y="4452994"/>
              <a:chExt cx="411956" cy="216662"/>
            </a:xfrm>
          </p:grpSpPr>
          <p:sp>
            <p:nvSpPr>
              <p:cNvPr id="103" name="Textfeld 102">
                <a:extLst>
                  <a:ext uri="{FF2B5EF4-FFF2-40B4-BE49-F238E27FC236}">
                    <a16:creationId xmlns:a16="http://schemas.microsoft.com/office/drawing/2014/main" id="{FB11088B-3E40-4E9D-8C60-2FCA0E75B9A5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92</a:t>
                </a:r>
              </a:p>
            </p:txBody>
          </p:sp>
          <p:cxnSp>
            <p:nvCxnSpPr>
              <p:cNvPr id="104" name="Gerader Verbinder 103">
                <a:extLst>
                  <a:ext uri="{FF2B5EF4-FFF2-40B4-BE49-F238E27FC236}">
                    <a16:creationId xmlns:a16="http://schemas.microsoft.com/office/drawing/2014/main" id="{F8EA552B-BF98-4042-A8DE-B538FCB2623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ABA93755-D1C1-4606-B5AE-6C011A947E57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101" name="Gerader Verbinder 100">
                <a:extLst>
                  <a:ext uri="{FF2B5EF4-FFF2-40B4-BE49-F238E27FC236}">
                    <a16:creationId xmlns:a16="http://schemas.microsoft.com/office/drawing/2014/main" id="{AE32DE81-FA6C-4CE0-ADE2-8627D3B996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Textfeld 101">
                <a:extLst>
                  <a:ext uri="{FF2B5EF4-FFF2-40B4-BE49-F238E27FC236}">
                    <a16:creationId xmlns:a16="http://schemas.microsoft.com/office/drawing/2014/main" id="{267B9C0F-5D3A-4581-AE5D-1D5AF24A644D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,40</a:t>
                </a:r>
              </a:p>
            </p:txBody>
          </p:sp>
        </p:grpSp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CEAF86A3-26D5-433B-A74B-662B221E11C5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3A630D2D-4125-4640-9CD0-6ED0841A91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0" name="Textfeld 99">
                <a:extLst>
                  <a:ext uri="{FF2B5EF4-FFF2-40B4-BE49-F238E27FC236}">
                    <a16:creationId xmlns:a16="http://schemas.microsoft.com/office/drawing/2014/main" id="{B2E90D2A-74C5-49E0-B7F1-0B995DAB3D72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00</a:t>
                </a:r>
              </a:p>
            </p:txBody>
          </p:sp>
        </p:grp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1A7BDCCA-7560-4EA4-8604-D1723EC217FC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97" name="Gerader Verbinder 96">
                <a:extLst>
                  <a:ext uri="{FF2B5EF4-FFF2-40B4-BE49-F238E27FC236}">
                    <a16:creationId xmlns:a16="http://schemas.microsoft.com/office/drawing/2014/main" id="{C0AB8F62-5467-483E-A4EA-591E34AF53A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8" name="Textfeld 97">
                <a:extLst>
                  <a:ext uri="{FF2B5EF4-FFF2-40B4-BE49-F238E27FC236}">
                    <a16:creationId xmlns:a16="http://schemas.microsoft.com/office/drawing/2014/main" id="{4AC61C99-FAD6-454A-9C8A-F818C313B6C1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,60</a:t>
                </a:r>
              </a:p>
            </p:txBody>
          </p:sp>
        </p:grpSp>
        <p:grpSp>
          <p:nvGrpSpPr>
            <p:cNvPr id="74" name="Gruppieren 73">
              <a:extLst>
                <a:ext uri="{FF2B5EF4-FFF2-40B4-BE49-F238E27FC236}">
                  <a16:creationId xmlns:a16="http://schemas.microsoft.com/office/drawing/2014/main" id="{9A270D1F-5B98-4B34-9BC0-F608802F63F2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95" name="Gerader Verbinder 94">
                <a:extLst>
                  <a:ext uri="{FF2B5EF4-FFF2-40B4-BE49-F238E27FC236}">
                    <a16:creationId xmlns:a16="http://schemas.microsoft.com/office/drawing/2014/main" id="{C7247493-8BA4-42C0-91A8-66C4F2F0C91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5F6E0F25-8820-4F75-8A2A-305DB28489B0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,00</a:t>
                </a:r>
              </a:p>
            </p:txBody>
          </p:sp>
        </p:grpSp>
        <p:grpSp>
          <p:nvGrpSpPr>
            <p:cNvPr id="92" name="Gruppieren 91">
              <a:extLst>
                <a:ext uri="{FF2B5EF4-FFF2-40B4-BE49-F238E27FC236}">
                  <a16:creationId xmlns:a16="http://schemas.microsoft.com/office/drawing/2014/main" id="{E5CB483E-9488-4E5C-9E7E-D3D41CC665F3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93" name="Gerader Verbinder 92">
                <a:extLst>
                  <a:ext uri="{FF2B5EF4-FFF2-40B4-BE49-F238E27FC236}">
                    <a16:creationId xmlns:a16="http://schemas.microsoft.com/office/drawing/2014/main" id="{2641CCA9-84B5-48C5-857D-4DC9DA045DA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4" name="Textfeld 93">
                <a:extLst>
                  <a:ext uri="{FF2B5EF4-FFF2-40B4-BE49-F238E27FC236}">
                    <a16:creationId xmlns:a16="http://schemas.microsoft.com/office/drawing/2014/main" id="{57664E9D-1E21-42C1-BE41-432F0E9603C5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70</a:t>
                </a:r>
              </a:p>
            </p:txBody>
          </p:sp>
        </p:grpSp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3677DBBD-8901-44E7-BC97-5FAE134425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2057" y="3018179"/>
            <a:ext cx="2887880" cy="120569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24CC3BC4-0DE3-F617-D31A-89BB7908997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4212" y="835851"/>
            <a:ext cx="863570" cy="863570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DD2BBF3-53DC-AED0-3A65-B6E751B725D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4047" y="4939758"/>
            <a:ext cx="2098995" cy="646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62596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F629EA-DE05-4C01-9F06-D25F1A8C22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63304"/>
            <a:ext cx="9144000" cy="1846659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C0B651E-82FF-4E81-8275-1648A55358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2D2813B-4BE8-4882-B0FA-05AA2860C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2C7B495-015B-46DF-B926-A0D118D9BE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A904B3-5160-4A42-BE05-3A7A1F9AD06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24897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8E4AE3-D9DB-46CF-9345-9B80F5730D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153D208-D124-450F-9690-26785CB487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6C32FE4-55F3-41FA-94A6-AC9B799C9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07B752-09EC-450F-9C4A-4B807178D026}" type="datetime4">
              <a:rPr lang="de-DE" smtClean="0"/>
              <a:t>25. Juni 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ED6BC56-0ABB-4258-946C-D4D98A4A62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68463B-F3C7-443C-BF22-ACB55E431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49761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64130F-03E2-491A-B826-42C1CAB49D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A6C4A3-00DE-4441-AC30-3250FF14AC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8FE9E15-EA9D-48FF-A897-1A9679D67E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8731D-CDEE-4903-9AB5-6442E0FA9D0B}" type="datetime4">
              <a:rPr lang="de-DE" smtClean="0"/>
              <a:t>25. Juni 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4B43A78-170E-49B2-9A95-42CEDEDE8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79EEF3-75A5-42E5-A3F1-F3C7E72EC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17217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E4AF0A-28FA-4A23-AE73-D135AFB0A7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C0DD9BC-EDE6-4EB6-9228-EE92CB3BCB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EB01E5C-26D9-4B01-995A-D7066A85C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4E3E2-A545-49C6-A14E-65F58F1E1A3C}" type="datetime4">
              <a:rPr lang="de-DE" smtClean="0"/>
              <a:t>25. Juni 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C7A3444-6C39-4F40-8B1F-A7979F08BC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5FA6340-AF15-4A72-AD5D-1E6019E2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01609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C61492-C9A9-4B90-9CD6-1228F3ED8A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F15B62-1AF0-4CB3-9A98-BE537D11BDD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DFCE06-6A3D-4A84-9FDC-CA92794524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D97094D-B0DB-42EA-88B4-D3E9FF50EB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71B2B5-9650-455D-9DF5-46BB81D2E3D6}" type="datetime4">
              <a:rPr lang="de-DE" smtClean="0"/>
              <a:t>25. Juni 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D3D3E-E602-4446-B94B-CBBDC63E12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775F61A-6FBE-4C19-B20E-42236C1D35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25651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2ADA5C-EA6C-44B5-9F01-C04A48B5C3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ADEBE49-28CB-4437-8EAA-E384A97552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2D719CE-F787-4E76-9B96-583ADC03EC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045919-4F15-4C81-8DE1-F688261B6D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7B90C8C-DC91-4D4B-BF8D-CF20DF37890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6AB3D94-43DF-4AC1-9941-8ACD4174BC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104AA1-C71F-48D6-ACBD-88ACA60F196B}" type="datetime4">
              <a:rPr lang="de-DE" smtClean="0"/>
              <a:t>25. Juni 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3E04DAF-CA16-4870-A9F2-9FDC340EFC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1F30E33-5A09-4818-92EB-F1FA6E378A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62091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F4B9398-63F1-43FA-8A33-77C3452B60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974D093-D852-413F-AFBB-01A5E5A526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2FABD3-5069-4195-9AAA-8016D1AB4489}" type="datetime4">
              <a:rPr lang="de-DE" smtClean="0"/>
              <a:t>25. Juni 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D4E05E-7350-4974-BC18-3BA7566FCA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DC596C5-2603-484C-8636-1D1B68E7C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82060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| In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92DD91-EAE8-4850-A1F1-29F8A7A57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213089"/>
            <a:ext cx="11157744" cy="738664"/>
          </a:xfrm>
        </p:spPr>
        <p:txBody>
          <a:bodyPr anchor="b" anchorCtr="0"/>
          <a:lstStyle>
            <a:lvl1pPr>
              <a:defRPr sz="48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810713E-3804-4787-B0E9-28105C2748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9725" y="4965080"/>
            <a:ext cx="3228592" cy="184666"/>
          </a:xfrm>
        </p:spPr>
        <p:txBody>
          <a:bodyPr wrap="square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Zielgruppe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5E062E4E-FEC5-4007-94FA-E26B3F377E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09725" y="5141291"/>
            <a:ext cx="3228592" cy="697105"/>
          </a:xfrm>
        </p:spPr>
        <p:txBody>
          <a:bodyPr wrap="square">
            <a:noAutofit/>
          </a:bodyPr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Ziel</a:t>
            </a: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B988E013-D7EA-4250-95FD-1943849D45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6107" y="4965080"/>
            <a:ext cx="4319999" cy="184666"/>
          </a:xfrm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Ersteller</a:t>
            </a: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FCFD2F7D-2405-47CC-ADE1-89F4F050B1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96107" y="5141292"/>
            <a:ext cx="4319999" cy="184666"/>
          </a:xfrm>
        </p:spPr>
        <p:txBody>
          <a:bodyPr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Abteilung</a:t>
            </a:r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F52AEE9E-B08F-4C0A-BEEE-04C7FFB48E7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8319" y="2872085"/>
            <a:ext cx="11157744" cy="738664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4800">
                <a:latin typeface="+mn-lt"/>
                <a:cs typeface="ZEISS Frutiger Next W1G Lt" panose="020B0302030202020203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55" name="Gerade Verbindung 22">
            <a:extLst>
              <a:ext uri="{FF2B5EF4-FFF2-40B4-BE49-F238E27FC236}">
                <a16:creationId xmlns:a16="http://schemas.microsoft.com/office/drawing/2014/main" id="{0FD81930-1AB6-453C-8CF7-2246B3482FB4}"/>
              </a:ext>
            </a:extLst>
          </p:cNvPr>
          <p:cNvCxnSpPr>
            <a:cxnSpLocks/>
          </p:cNvCxnSpPr>
          <p:nvPr/>
        </p:nvCxnSpPr>
        <p:spPr>
          <a:xfrm>
            <a:off x="5096108" y="4889103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22">
            <a:extLst>
              <a:ext uri="{FF2B5EF4-FFF2-40B4-BE49-F238E27FC236}">
                <a16:creationId xmlns:a16="http://schemas.microsoft.com/office/drawing/2014/main" id="{F4D114BB-7210-400E-8A65-8B658E626712}"/>
              </a:ext>
            </a:extLst>
          </p:cNvPr>
          <p:cNvCxnSpPr>
            <a:cxnSpLocks/>
          </p:cNvCxnSpPr>
          <p:nvPr/>
        </p:nvCxnSpPr>
        <p:spPr>
          <a:xfrm>
            <a:off x="5096107" y="5577761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22">
            <a:extLst>
              <a:ext uri="{FF2B5EF4-FFF2-40B4-BE49-F238E27FC236}">
                <a16:creationId xmlns:a16="http://schemas.microsoft.com/office/drawing/2014/main" id="{71C425F1-6606-4095-917F-0A5EABB8E022}"/>
              </a:ext>
            </a:extLst>
          </p:cNvPr>
          <p:cNvCxnSpPr>
            <a:cxnSpLocks/>
          </p:cNvCxnSpPr>
          <p:nvPr/>
        </p:nvCxnSpPr>
        <p:spPr>
          <a:xfrm>
            <a:off x="5096107" y="6093705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22">
            <a:extLst>
              <a:ext uri="{FF2B5EF4-FFF2-40B4-BE49-F238E27FC236}">
                <a16:creationId xmlns:a16="http://schemas.microsoft.com/office/drawing/2014/main" id="{929C78D0-9AC5-4AD0-BA80-D1DBD8376211}"/>
              </a:ext>
            </a:extLst>
          </p:cNvPr>
          <p:cNvCxnSpPr>
            <a:cxnSpLocks/>
          </p:cNvCxnSpPr>
          <p:nvPr userDrawn="1"/>
        </p:nvCxnSpPr>
        <p:spPr>
          <a:xfrm>
            <a:off x="5096107" y="6093705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22">
            <a:extLst>
              <a:ext uri="{FF2B5EF4-FFF2-40B4-BE49-F238E27FC236}">
                <a16:creationId xmlns:a16="http://schemas.microsoft.com/office/drawing/2014/main" id="{B7AC5EDF-D9FB-40CE-BD44-B44AB9AF273D}"/>
              </a:ext>
            </a:extLst>
          </p:cNvPr>
          <p:cNvCxnSpPr>
            <a:cxnSpLocks/>
          </p:cNvCxnSpPr>
          <p:nvPr userDrawn="1"/>
        </p:nvCxnSpPr>
        <p:spPr>
          <a:xfrm>
            <a:off x="518318" y="4889103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6B3858EA-1E2B-40BB-88B6-70384BC3466D}"/>
              </a:ext>
            </a:extLst>
          </p:cNvPr>
          <p:cNvSpPr txBox="1"/>
          <p:nvPr userDrawn="1"/>
        </p:nvSpPr>
        <p:spPr>
          <a:xfrm>
            <a:off x="518318" y="4965080"/>
            <a:ext cx="8991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None/>
              <a:tabLst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Zielgruppe: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53F235B6-8F15-44AD-A35D-04C9940BCC70}"/>
              </a:ext>
            </a:extLst>
          </p:cNvPr>
          <p:cNvSpPr txBox="1"/>
          <p:nvPr userDrawn="1"/>
        </p:nvSpPr>
        <p:spPr>
          <a:xfrm>
            <a:off x="518318" y="5141292"/>
            <a:ext cx="8991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None/>
              <a:tabLst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Ziel:</a:t>
            </a:r>
          </a:p>
        </p:txBody>
      </p:sp>
      <p:sp>
        <p:nvSpPr>
          <p:cNvPr id="56" name="Datumsplatzhalter 1">
            <a:extLst>
              <a:ext uri="{FF2B5EF4-FFF2-40B4-BE49-F238E27FC236}">
                <a16:creationId xmlns:a16="http://schemas.microsoft.com/office/drawing/2014/main" id="{3454106C-2ACB-473E-BEB9-6CD72BA5D955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5096107" y="5651841"/>
            <a:ext cx="1178208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de-DE" sz="1200" b="1" smtClean="0">
                <a:cs typeface="+mn-cs"/>
              </a:defRPr>
            </a:lvl1pPr>
          </a:lstStyle>
          <a:p>
            <a:pPr>
              <a:spcAft>
                <a:spcPts val="800"/>
              </a:spcAft>
              <a:buFont typeface="Arial" panose="020B0604020202020204" pitchFamily="34" charset="0"/>
              <a:buNone/>
            </a:pPr>
            <a:fld id="{00D4B15A-12AA-4F65-A681-0A2A5378D5B1}" type="datetime4">
              <a:rPr lang="de-DE" smtClean="0"/>
              <a:t>25. Juni 2025</a:t>
            </a:fld>
            <a:endParaRPr lang="de-DE"/>
          </a:p>
        </p:txBody>
      </p: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DE3F12D7-D968-45FF-97C5-EE698332055B}"/>
              </a:ext>
            </a:extLst>
          </p:cNvPr>
          <p:cNvGrpSpPr/>
          <p:nvPr userDrawn="1"/>
        </p:nvGrpSpPr>
        <p:grpSpPr>
          <a:xfrm>
            <a:off x="299275" y="-697714"/>
            <a:ext cx="11375605" cy="411956"/>
            <a:chOff x="299275" y="6944502"/>
            <a:chExt cx="11375605" cy="411956"/>
          </a:xfrm>
        </p:grpSpPr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72FDE1AE-6C26-4AEA-B813-968E3FA84E45}"/>
                </a:ext>
              </a:extLst>
            </p:cNvPr>
            <p:cNvGrpSpPr/>
            <p:nvPr/>
          </p:nvGrpSpPr>
          <p:grpSpPr>
            <a:xfrm rot="16200000">
              <a:off x="2016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69" name="Gerader Verbinder 68">
                <a:extLst>
                  <a:ext uri="{FF2B5EF4-FFF2-40B4-BE49-F238E27FC236}">
                    <a16:creationId xmlns:a16="http://schemas.microsoft.com/office/drawing/2014/main" id="{391E1ABA-279E-42BE-A471-0665792380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2" name="Textfeld 71">
                <a:extLst>
                  <a:ext uri="{FF2B5EF4-FFF2-40B4-BE49-F238E27FC236}">
                    <a16:creationId xmlns:a16="http://schemas.microsoft.com/office/drawing/2014/main" id="{A31CB283-6586-422E-A364-5B59963EA10A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  <p:grpSp>
          <p:nvGrpSpPr>
            <p:cNvPr id="58" name="Gruppieren 57">
              <a:extLst>
                <a:ext uri="{FF2B5EF4-FFF2-40B4-BE49-F238E27FC236}">
                  <a16:creationId xmlns:a16="http://schemas.microsoft.com/office/drawing/2014/main" id="{0DF1696E-3E10-42C0-87B2-EC94416ABDD7}"/>
                </a:ext>
              </a:extLst>
            </p:cNvPr>
            <p:cNvGrpSpPr/>
            <p:nvPr/>
          </p:nvGrpSpPr>
          <p:grpSpPr>
            <a:xfrm rot="16200000">
              <a:off x="56372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67" name="Gerader Verbinder 66">
                <a:extLst>
                  <a:ext uri="{FF2B5EF4-FFF2-40B4-BE49-F238E27FC236}">
                    <a16:creationId xmlns:a16="http://schemas.microsoft.com/office/drawing/2014/main" id="{BE529AD2-E754-43F8-9BF1-A71DDC9770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61F84B31-21D7-4645-94FB-2E2C3D087554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grpSp>
          <p:nvGrpSpPr>
            <p:cNvPr id="59" name="Gruppieren 58">
              <a:extLst>
                <a:ext uri="{FF2B5EF4-FFF2-40B4-BE49-F238E27FC236}">
                  <a16:creationId xmlns:a16="http://schemas.microsoft.com/office/drawing/2014/main" id="{7666289F-95B3-42CA-9894-E8382EEDD363}"/>
                </a:ext>
              </a:extLst>
            </p:cNvPr>
            <p:cNvGrpSpPr/>
            <p:nvPr/>
          </p:nvGrpSpPr>
          <p:grpSpPr>
            <a:xfrm rot="5400000">
              <a:off x="6093326" y="7042149"/>
              <a:ext cx="411956" cy="216662"/>
              <a:chOff x="-615197" y="4346120"/>
              <a:chExt cx="411956" cy="216662"/>
            </a:xfrm>
          </p:grpSpPr>
          <p:cxnSp>
            <p:nvCxnSpPr>
              <p:cNvPr id="65" name="Gerader Verbinder 64">
                <a:extLst>
                  <a:ext uri="{FF2B5EF4-FFF2-40B4-BE49-F238E27FC236}">
                    <a16:creationId xmlns:a16="http://schemas.microsoft.com/office/drawing/2014/main" id="{A283C2BC-ADCB-4686-B92F-49DD699B61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C03614CA-20E4-461C-8B07-C939BFB72E28}"/>
                  </a:ext>
                </a:extLst>
              </p:cNvPr>
              <p:cNvSpPr txBox="1"/>
              <p:nvPr/>
            </p:nvSpPr>
            <p:spPr>
              <a:xfrm rot="10800000">
                <a:off x="-615197" y="4346120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664268DC-D962-4CCE-9B3A-8E490709CE6C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BA562E17-33AB-4950-A73C-23DB7258315E}"/>
                </a:ext>
              </a:extLst>
            </p:cNvPr>
            <p:cNvGrpSpPr/>
            <p:nvPr/>
          </p:nvGrpSpPr>
          <p:grpSpPr>
            <a:xfrm rot="16200000">
              <a:off x="11360571" y="7042149"/>
              <a:ext cx="411956" cy="216662"/>
              <a:chOff x="-615197" y="4295013"/>
              <a:chExt cx="411956" cy="216662"/>
            </a:xfrm>
          </p:grpSpPr>
          <p:cxnSp>
            <p:nvCxnSpPr>
              <p:cNvPr id="63" name="Gerader Verbinder 62">
                <a:extLst>
                  <a:ext uri="{FF2B5EF4-FFF2-40B4-BE49-F238E27FC236}">
                    <a16:creationId xmlns:a16="http://schemas.microsoft.com/office/drawing/2014/main" id="{5980CC73-B1B3-400D-B426-6EB953D992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5D103127-8A82-4D11-A5CE-BF0E3A73AFFF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</p:grp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5CDD8002-7AD1-416E-B505-410900BC2903}"/>
              </a:ext>
            </a:extLst>
          </p:cNvPr>
          <p:cNvGrpSpPr/>
          <p:nvPr userDrawn="1"/>
        </p:nvGrpSpPr>
        <p:grpSpPr>
          <a:xfrm>
            <a:off x="-697714" y="80201"/>
            <a:ext cx="411956" cy="6729801"/>
            <a:chOff x="-502267" y="80201"/>
            <a:chExt cx="411956" cy="6729801"/>
          </a:xfrm>
        </p:grpSpPr>
        <p:grpSp>
          <p:nvGrpSpPr>
            <p:cNvPr id="106" name="Gruppieren 105">
              <a:extLst>
                <a:ext uri="{FF2B5EF4-FFF2-40B4-BE49-F238E27FC236}">
                  <a16:creationId xmlns:a16="http://schemas.microsoft.com/office/drawing/2014/main" id="{22298FC9-D43F-401F-B1B1-71F1D9452654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16662"/>
              <a:chOff x="-615197" y="4452994"/>
              <a:chExt cx="411956" cy="216662"/>
            </a:xfrm>
          </p:grpSpPr>
          <p:sp>
            <p:nvSpPr>
              <p:cNvPr id="122" name="Textfeld 121">
                <a:extLst>
                  <a:ext uri="{FF2B5EF4-FFF2-40B4-BE49-F238E27FC236}">
                    <a16:creationId xmlns:a16="http://schemas.microsoft.com/office/drawing/2014/main" id="{B2A35812-FBAC-40B1-BB5C-14BE0906D3A6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92</a:t>
                </a:r>
              </a:p>
            </p:txBody>
          </p:sp>
          <p:cxnSp>
            <p:nvCxnSpPr>
              <p:cNvPr id="123" name="Gerader Verbinder 122">
                <a:extLst>
                  <a:ext uri="{FF2B5EF4-FFF2-40B4-BE49-F238E27FC236}">
                    <a16:creationId xmlns:a16="http://schemas.microsoft.com/office/drawing/2014/main" id="{BBD32DB6-A18D-49E6-873F-487940E302D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Gruppieren 106">
              <a:extLst>
                <a:ext uri="{FF2B5EF4-FFF2-40B4-BE49-F238E27FC236}">
                  <a16:creationId xmlns:a16="http://schemas.microsoft.com/office/drawing/2014/main" id="{14DBCEAA-78E9-491F-9AF2-E2669BB34E3F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120" name="Gerader Verbinder 119">
                <a:extLst>
                  <a:ext uri="{FF2B5EF4-FFF2-40B4-BE49-F238E27FC236}">
                    <a16:creationId xmlns:a16="http://schemas.microsoft.com/office/drawing/2014/main" id="{E1F04B3A-51E9-4420-81F8-033430342D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1" name="Textfeld 120">
                <a:extLst>
                  <a:ext uri="{FF2B5EF4-FFF2-40B4-BE49-F238E27FC236}">
                    <a16:creationId xmlns:a16="http://schemas.microsoft.com/office/drawing/2014/main" id="{26FB21A6-6566-4E54-9F20-79BAEEA2A24F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,40</a:t>
                </a:r>
              </a:p>
            </p:txBody>
          </p:sp>
        </p:grpSp>
        <p:grpSp>
          <p:nvGrpSpPr>
            <p:cNvPr id="108" name="Gruppieren 107">
              <a:extLst>
                <a:ext uri="{FF2B5EF4-FFF2-40B4-BE49-F238E27FC236}">
                  <a16:creationId xmlns:a16="http://schemas.microsoft.com/office/drawing/2014/main" id="{CAB92BD1-5C1A-4FE9-A42A-5E490896E829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118" name="Gerader Verbinder 117">
                <a:extLst>
                  <a:ext uri="{FF2B5EF4-FFF2-40B4-BE49-F238E27FC236}">
                    <a16:creationId xmlns:a16="http://schemas.microsoft.com/office/drawing/2014/main" id="{1359EBEA-50DB-4672-903B-010118452B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9" name="Textfeld 118">
                <a:extLst>
                  <a:ext uri="{FF2B5EF4-FFF2-40B4-BE49-F238E27FC236}">
                    <a16:creationId xmlns:a16="http://schemas.microsoft.com/office/drawing/2014/main" id="{72B1BA01-3E35-4B6D-B278-DEFD6AC4F162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00</a:t>
                </a:r>
              </a:p>
            </p:txBody>
          </p:sp>
        </p:grpSp>
        <p:grpSp>
          <p:nvGrpSpPr>
            <p:cNvPr id="109" name="Gruppieren 108">
              <a:extLst>
                <a:ext uri="{FF2B5EF4-FFF2-40B4-BE49-F238E27FC236}">
                  <a16:creationId xmlns:a16="http://schemas.microsoft.com/office/drawing/2014/main" id="{0E960B3D-121E-489F-8583-F1A1A12BADC8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116" name="Gerader Verbinder 115">
                <a:extLst>
                  <a:ext uri="{FF2B5EF4-FFF2-40B4-BE49-F238E27FC236}">
                    <a16:creationId xmlns:a16="http://schemas.microsoft.com/office/drawing/2014/main" id="{DDC265A6-1155-4DAB-B5FD-05C71CEACA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7" name="Textfeld 116">
                <a:extLst>
                  <a:ext uri="{FF2B5EF4-FFF2-40B4-BE49-F238E27FC236}">
                    <a16:creationId xmlns:a16="http://schemas.microsoft.com/office/drawing/2014/main" id="{1EDB2519-37D8-4181-B6A1-FBC78D49AF54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,60</a:t>
                </a:r>
              </a:p>
            </p:txBody>
          </p:sp>
        </p:grpSp>
        <p:grpSp>
          <p:nvGrpSpPr>
            <p:cNvPr id="110" name="Gruppieren 109">
              <a:extLst>
                <a:ext uri="{FF2B5EF4-FFF2-40B4-BE49-F238E27FC236}">
                  <a16:creationId xmlns:a16="http://schemas.microsoft.com/office/drawing/2014/main" id="{E7D6D417-2C0A-4171-9090-79BEC182C0E0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114" name="Gerader Verbinder 113">
                <a:extLst>
                  <a:ext uri="{FF2B5EF4-FFF2-40B4-BE49-F238E27FC236}">
                    <a16:creationId xmlns:a16="http://schemas.microsoft.com/office/drawing/2014/main" id="{2FE163FB-290C-440B-A523-B05DE7CDE0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5" name="Textfeld 114">
                <a:extLst>
                  <a:ext uri="{FF2B5EF4-FFF2-40B4-BE49-F238E27FC236}">
                    <a16:creationId xmlns:a16="http://schemas.microsoft.com/office/drawing/2014/main" id="{EF1AABF4-52E2-4E0A-AF0B-7DD96FF76017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,00</a:t>
                </a:r>
              </a:p>
            </p:txBody>
          </p:sp>
        </p:grp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9031660F-3F40-42E2-A9B2-8B22C61D7700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112" name="Gerader Verbinder 111">
                <a:extLst>
                  <a:ext uri="{FF2B5EF4-FFF2-40B4-BE49-F238E27FC236}">
                    <a16:creationId xmlns:a16="http://schemas.microsoft.com/office/drawing/2014/main" id="{CE78153C-4DD5-40DA-941B-BF81D7569D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3" name="Textfeld 112">
                <a:extLst>
                  <a:ext uri="{FF2B5EF4-FFF2-40B4-BE49-F238E27FC236}">
                    <a16:creationId xmlns:a16="http://schemas.microsoft.com/office/drawing/2014/main" id="{BE5BC182-797A-42A9-A488-DF25F3387444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70</a:t>
                </a:r>
              </a:p>
            </p:txBody>
          </p:sp>
        </p:grp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13716D5F-9793-2331-7ACF-0E74773224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7067" y="188532"/>
            <a:ext cx="1241677" cy="51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5790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81714DB-9690-4B9C-AE71-D69C194A85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8FEBE3-C9EC-4CCE-B552-6508001DE3C7}" type="datetime4">
              <a:rPr lang="de-DE" smtClean="0"/>
              <a:t>25. Juni 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6C72EA-DE60-466F-AE20-8773B06AD3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84CBC0E-37BD-40AE-98B2-59274338CA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42860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6D2307-1BB1-4D6C-A036-CD30D42B7F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6F6C89B-561E-4500-84E2-B35A914F6C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01CC53-78F7-4D58-BDA7-841FBE244D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7156A7-1F4A-44B4-81C3-B22157C179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7AFFC4-A85B-40D8-815C-2736C44950C1}" type="datetime4">
              <a:rPr lang="de-DE" smtClean="0"/>
              <a:t>25. Juni 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A7E7222-50EF-4776-B29A-D45DB2217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CFEBCBE-640E-4628-A4F1-E20F09EFBB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03361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A8C782-4265-4F8B-93FA-7CF8BE7F4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5E05E7B-42D8-4BA6-A5FA-1CD2B0D9175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7FDADFA-A26F-45D8-8103-AD4B63F3D5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B7C7AD2-69E3-463C-9A6D-9BFBC2DDC8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618044-4876-4979-959F-D033556A73FB}" type="datetime4">
              <a:rPr lang="de-DE" smtClean="0"/>
              <a:t>25. Juni 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5FB86C2-F937-4060-A604-CFACE7611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87A6F5E-3BFB-40B2-B004-A2E1BE0C9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33553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4C8553-049C-4B6E-AEB5-E7FFA5699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DFCB248-C750-4805-B315-6A8A12EDC6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543F2A-EAA1-48CF-BA39-62E89142DB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91E3A-FFA6-4D9B-B566-B93557A04D79}" type="datetime4">
              <a:rPr lang="de-DE" smtClean="0"/>
              <a:t>25. Juni 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384F6-0AFA-4F60-B106-014C554609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D352746-02A0-4E10-9E38-06B590D0A5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56638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69C763DD-34E5-402E-8080-C9A589B0FF8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2514266B-F91F-4BE9-BB03-B360EB22977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199DCB2-0AF4-47D6-AADA-E7AD42265A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C71D2-62CE-450F-8772-B6759F3C0EFD}" type="datetime4">
              <a:rPr lang="de-DE" smtClean="0"/>
              <a:t>25. Juni 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BEB7FA-BE28-4072-BA2C-D90E10735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E06519-F145-4279-B3D6-C1BF22228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3486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platzhalter 12">
            <a:extLst>
              <a:ext uri="{FF2B5EF4-FFF2-40B4-BE49-F238E27FC236}">
                <a16:creationId xmlns:a16="http://schemas.microsoft.com/office/drawing/2014/main" id="{F2C8B787-6095-434A-9C6C-78A5108C8B6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8319" y="163221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6" name="Textplatzhalter 12">
            <a:extLst>
              <a:ext uri="{FF2B5EF4-FFF2-40B4-BE49-F238E27FC236}">
                <a16:creationId xmlns:a16="http://schemas.microsoft.com/office/drawing/2014/main" id="{EDBC396B-1D3D-4E70-9A15-834458035ED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8319" y="6091175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7" name="Textplatzhalter 12">
            <a:extLst>
              <a:ext uri="{FF2B5EF4-FFF2-40B4-BE49-F238E27FC236}">
                <a16:creationId xmlns:a16="http://schemas.microsoft.com/office/drawing/2014/main" id="{16496151-4C59-4CA7-9171-93A5E6FD0E3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8319" y="545418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8" name="Textplatzhalter 12">
            <a:extLst>
              <a:ext uri="{FF2B5EF4-FFF2-40B4-BE49-F238E27FC236}">
                <a16:creationId xmlns:a16="http://schemas.microsoft.com/office/drawing/2014/main" id="{2E872B50-F58D-4049-829B-5D4FC3DD44B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8319" y="4817187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9" name="Textplatzhalter 12">
            <a:extLst>
              <a:ext uri="{FF2B5EF4-FFF2-40B4-BE49-F238E27FC236}">
                <a16:creationId xmlns:a16="http://schemas.microsoft.com/office/drawing/2014/main" id="{365BC96D-ED2D-464E-BC70-A23FF37E8D5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8319" y="418019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0" name="Textplatzhalter 12">
            <a:extLst>
              <a:ext uri="{FF2B5EF4-FFF2-40B4-BE49-F238E27FC236}">
                <a16:creationId xmlns:a16="http://schemas.microsoft.com/office/drawing/2014/main" id="{B065DB6D-E88A-4417-88AE-F3BDA7535DF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8319" y="3543197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1" name="Textplatzhalter 12">
            <a:extLst>
              <a:ext uri="{FF2B5EF4-FFF2-40B4-BE49-F238E27FC236}">
                <a16:creationId xmlns:a16="http://schemas.microsoft.com/office/drawing/2014/main" id="{AEB6ADF8-03FE-4219-AC3D-60860EB9B1E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8319" y="290620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2" name="Textplatzhalter 12">
            <a:extLst>
              <a:ext uri="{FF2B5EF4-FFF2-40B4-BE49-F238E27FC236}">
                <a16:creationId xmlns:a16="http://schemas.microsoft.com/office/drawing/2014/main" id="{39606005-B38E-44BD-9756-AFE8B8BBACA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8319" y="2269207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3" name="Textplatzhalter 12">
            <a:extLst>
              <a:ext uri="{FF2B5EF4-FFF2-40B4-BE49-F238E27FC236}">
                <a16:creationId xmlns:a16="http://schemas.microsoft.com/office/drawing/2014/main" id="{552BBB7B-042B-4EB3-835B-819E155C7D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670595"/>
            <a:ext cx="946800" cy="539942"/>
          </a:xfrm>
          <a:noFill/>
        </p:spPr>
        <p:txBody>
          <a:bodyPr wrap="squar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43" name="Textplatzhalter 12">
            <a:extLst>
              <a:ext uri="{FF2B5EF4-FFF2-40B4-BE49-F238E27FC236}">
                <a16:creationId xmlns:a16="http://schemas.microsoft.com/office/drawing/2014/main" id="{794860D3-268B-4144-8AB0-52365C4C9C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2952545"/>
            <a:ext cx="946800" cy="539942"/>
          </a:xfrm>
        </p:spPr>
        <p:txBody>
          <a:bodyPr wrap="squar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45" name="Textplatzhalter 12">
            <a:extLst>
              <a:ext uri="{FF2B5EF4-FFF2-40B4-BE49-F238E27FC236}">
                <a16:creationId xmlns:a16="http://schemas.microsoft.com/office/drawing/2014/main" id="{7227C327-0142-4EA6-AEFB-173EFCBAE0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593520"/>
            <a:ext cx="946800" cy="539942"/>
          </a:xfrm>
        </p:spPr>
        <p:txBody>
          <a:bodyPr wrap="squar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46" name="Textplatzhalter 12">
            <a:extLst>
              <a:ext uri="{FF2B5EF4-FFF2-40B4-BE49-F238E27FC236}">
                <a16:creationId xmlns:a16="http://schemas.microsoft.com/office/drawing/2014/main" id="{C5438030-4C98-4CAF-B3C0-CE976BED34C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4234495"/>
            <a:ext cx="946800" cy="539942"/>
          </a:xfrm>
        </p:spPr>
        <p:txBody>
          <a:bodyPr wrap="squar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5</a:t>
            </a:r>
          </a:p>
        </p:txBody>
      </p:sp>
      <p:sp>
        <p:nvSpPr>
          <p:cNvPr id="47" name="Textplatzhalter 12">
            <a:extLst>
              <a:ext uri="{FF2B5EF4-FFF2-40B4-BE49-F238E27FC236}">
                <a16:creationId xmlns:a16="http://schemas.microsoft.com/office/drawing/2014/main" id="{16E2D676-DB17-4B9A-AA0D-A3F245644F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875470"/>
            <a:ext cx="946800" cy="539942"/>
          </a:xfrm>
        </p:spPr>
        <p:txBody>
          <a:bodyPr wrap="squar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6</a:t>
            </a:r>
          </a:p>
        </p:txBody>
      </p:sp>
      <p:sp>
        <p:nvSpPr>
          <p:cNvPr id="48" name="Textplatzhalter 12">
            <a:extLst>
              <a:ext uri="{FF2B5EF4-FFF2-40B4-BE49-F238E27FC236}">
                <a16:creationId xmlns:a16="http://schemas.microsoft.com/office/drawing/2014/main" id="{79FCABAB-1D64-41D4-9EB2-F6F60A8850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5516447"/>
            <a:ext cx="946800" cy="539942"/>
          </a:xfrm>
        </p:spPr>
        <p:txBody>
          <a:bodyPr wrap="squar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7</a:t>
            </a:r>
          </a:p>
        </p:txBody>
      </p:sp>
      <p:sp>
        <p:nvSpPr>
          <p:cNvPr id="49" name="Textplatzhalter 12">
            <a:extLst>
              <a:ext uri="{FF2B5EF4-FFF2-40B4-BE49-F238E27FC236}">
                <a16:creationId xmlns:a16="http://schemas.microsoft.com/office/drawing/2014/main" id="{BBCB46D3-00EC-450B-A636-FB52817DBCD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0" y="2311570"/>
            <a:ext cx="946800" cy="539942"/>
          </a:xfrm>
        </p:spPr>
        <p:txBody>
          <a:bodyPr wrap="squar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008D678-508B-4EAC-8996-9B20ADAA3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44" name="Gerade Verbindung 71">
            <a:extLst>
              <a:ext uri="{FF2B5EF4-FFF2-40B4-BE49-F238E27FC236}">
                <a16:creationId xmlns:a16="http://schemas.microsoft.com/office/drawing/2014/main" id="{25F92CEA-1B2A-4107-853E-0010403CE96B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0C57EE4-17A8-41AE-AD8F-0C906241B7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8694" y="1713197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Zahl muss überschrieben werden; </a:t>
            </a:r>
            <a:r>
              <a:rPr lang="de-DE" err="1"/>
              <a:t>Agendapunkt</a:t>
            </a:r>
            <a:r>
              <a:rPr lang="de-DE"/>
              <a:t> hinzufügen</a:t>
            </a:r>
          </a:p>
        </p:txBody>
      </p:sp>
      <p:sp>
        <p:nvSpPr>
          <p:cNvPr id="29" name="Textplatzhalter 27">
            <a:extLst>
              <a:ext uri="{FF2B5EF4-FFF2-40B4-BE49-F238E27FC236}">
                <a16:creationId xmlns:a16="http://schemas.microsoft.com/office/drawing/2014/main" id="{EDC138DF-81E8-468E-BE50-5A359E245A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8694" y="5559049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Zahl muss überschrieben werden; </a:t>
            </a:r>
            <a:r>
              <a:rPr lang="de-DE" err="1"/>
              <a:t>Agendapunkt</a:t>
            </a:r>
            <a:r>
              <a:rPr lang="de-DE"/>
              <a:t> hinzufügen</a:t>
            </a:r>
          </a:p>
        </p:txBody>
      </p:sp>
      <p:sp>
        <p:nvSpPr>
          <p:cNvPr id="30" name="Textplatzhalter 27">
            <a:extLst>
              <a:ext uri="{FF2B5EF4-FFF2-40B4-BE49-F238E27FC236}">
                <a16:creationId xmlns:a16="http://schemas.microsoft.com/office/drawing/2014/main" id="{E67A7442-A1B4-49EA-9268-A28469018A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8694" y="4918072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Zahl muss überschrieben werden; </a:t>
            </a:r>
            <a:r>
              <a:rPr lang="de-DE" err="1"/>
              <a:t>Agendapunkt</a:t>
            </a:r>
            <a:r>
              <a:rPr lang="de-DE"/>
              <a:t> hinzufügen</a:t>
            </a:r>
          </a:p>
        </p:txBody>
      </p:sp>
      <p:sp>
        <p:nvSpPr>
          <p:cNvPr id="31" name="Textplatzhalter 27">
            <a:extLst>
              <a:ext uri="{FF2B5EF4-FFF2-40B4-BE49-F238E27FC236}">
                <a16:creationId xmlns:a16="http://schemas.microsoft.com/office/drawing/2014/main" id="{9B7A6C1A-6494-4115-8E54-99DC0DB45D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08694" y="4277097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Zahl muss überschrieben werden; </a:t>
            </a:r>
            <a:r>
              <a:rPr lang="de-DE" err="1"/>
              <a:t>Agendapunkt</a:t>
            </a:r>
            <a:r>
              <a:rPr lang="de-DE"/>
              <a:t> hinzufügen</a:t>
            </a:r>
          </a:p>
        </p:txBody>
      </p:sp>
      <p:sp>
        <p:nvSpPr>
          <p:cNvPr id="32" name="Textplatzhalter 27">
            <a:extLst>
              <a:ext uri="{FF2B5EF4-FFF2-40B4-BE49-F238E27FC236}">
                <a16:creationId xmlns:a16="http://schemas.microsoft.com/office/drawing/2014/main" id="{9D8685BE-5979-43B0-AC0C-74054987778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08694" y="3636122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Zahl muss überschrieben werden; </a:t>
            </a:r>
            <a:r>
              <a:rPr lang="de-DE" err="1"/>
              <a:t>Agendapunkt</a:t>
            </a:r>
            <a:r>
              <a:rPr lang="de-DE"/>
              <a:t> hinzufügen</a:t>
            </a:r>
          </a:p>
        </p:txBody>
      </p:sp>
      <p:sp>
        <p:nvSpPr>
          <p:cNvPr id="34" name="Textplatzhalter 27">
            <a:extLst>
              <a:ext uri="{FF2B5EF4-FFF2-40B4-BE49-F238E27FC236}">
                <a16:creationId xmlns:a16="http://schemas.microsoft.com/office/drawing/2014/main" id="{F5438DE9-D033-4100-9761-E4FFFC202F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08694" y="2354172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Zahl muss überschrieben werden; </a:t>
            </a:r>
            <a:r>
              <a:rPr lang="de-DE" err="1"/>
              <a:t>Agendapunkt</a:t>
            </a:r>
            <a:r>
              <a:rPr lang="de-DE"/>
              <a:t> hinzufügen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BB278DD4-3FCE-4782-AF12-45EC18329176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5" name="Textplatzhalter 27">
            <a:extLst>
              <a:ext uri="{FF2B5EF4-FFF2-40B4-BE49-F238E27FC236}">
                <a16:creationId xmlns:a16="http://schemas.microsoft.com/office/drawing/2014/main" id="{40334521-65D4-4254-A9E2-9118257ED99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08694" y="2995147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Zahl muss überschrieben werden; </a:t>
            </a:r>
            <a:r>
              <a:rPr lang="de-DE" err="1"/>
              <a:t>Agendapunkt</a:t>
            </a:r>
            <a:r>
              <a:rPr lang="de-DE"/>
              <a:t>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9366EC2-D105-48A7-B8E4-3E5DD841504A}"/>
              </a:ext>
            </a:extLst>
          </p:cNvPr>
          <p:cNvSpPr>
            <a:spLocks noGrp="1"/>
          </p:cNvSpPr>
          <p:nvPr>
            <p:ph type="dt" sz="half" idx="41"/>
          </p:nvPr>
        </p:nvSpPr>
        <p:spPr/>
        <p:txBody>
          <a:bodyPr/>
          <a:lstStyle/>
          <a:p>
            <a:fld id="{476DA324-C85F-47E6-B523-9F944315266C}" type="datetime4">
              <a:rPr lang="de-DE" smtClean="0"/>
              <a:t>25. Juni 2025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7267479-09D9-4A9B-BD11-49CBF9C1E4A8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0" name="Textplatzhalter 27">
            <a:extLst>
              <a:ext uri="{FF2B5EF4-FFF2-40B4-BE49-F238E27FC236}">
                <a16:creationId xmlns:a16="http://schemas.microsoft.com/office/drawing/2014/main" id="{1AF8F226-D83E-4A8A-A0F2-15D5C1B6E31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969191" y="17131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Sprecher einfügen</a:t>
            </a:r>
          </a:p>
        </p:txBody>
      </p:sp>
      <p:sp>
        <p:nvSpPr>
          <p:cNvPr id="51" name="Textplatzhalter 27">
            <a:extLst>
              <a:ext uri="{FF2B5EF4-FFF2-40B4-BE49-F238E27FC236}">
                <a16:creationId xmlns:a16="http://schemas.microsoft.com/office/drawing/2014/main" id="{6FD107AB-96B0-4BD6-AA8D-8799FA2AFB4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509624" y="1713197"/>
            <a:ext cx="125565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52" name="Textplatzhalter 27">
            <a:extLst>
              <a:ext uri="{FF2B5EF4-FFF2-40B4-BE49-F238E27FC236}">
                <a16:creationId xmlns:a16="http://schemas.microsoft.com/office/drawing/2014/main" id="{260CEC10-1DA2-4B47-96EB-E91F197E94C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969191" y="5559049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Sprecher einfügen</a:t>
            </a:r>
          </a:p>
        </p:txBody>
      </p:sp>
      <p:sp>
        <p:nvSpPr>
          <p:cNvPr id="53" name="Textplatzhalter 27">
            <a:extLst>
              <a:ext uri="{FF2B5EF4-FFF2-40B4-BE49-F238E27FC236}">
                <a16:creationId xmlns:a16="http://schemas.microsoft.com/office/drawing/2014/main" id="{3CB1FA78-3D03-4648-8CF3-239710E730A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509624" y="5559049"/>
            <a:ext cx="125565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56" name="Textplatzhalter 27">
            <a:extLst>
              <a:ext uri="{FF2B5EF4-FFF2-40B4-BE49-F238E27FC236}">
                <a16:creationId xmlns:a16="http://schemas.microsoft.com/office/drawing/2014/main" id="{B8CD5CD3-C498-4463-935E-A1A5B7094D4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69191" y="49180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Sprecher einfügen</a:t>
            </a:r>
          </a:p>
        </p:txBody>
      </p:sp>
      <p:sp>
        <p:nvSpPr>
          <p:cNvPr id="57" name="Textplatzhalter 27">
            <a:extLst>
              <a:ext uri="{FF2B5EF4-FFF2-40B4-BE49-F238E27FC236}">
                <a16:creationId xmlns:a16="http://schemas.microsoft.com/office/drawing/2014/main" id="{F12392E6-1DEE-4FFE-AACA-C660C921C8E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509624" y="4918072"/>
            <a:ext cx="125565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58" name="Textplatzhalter 27">
            <a:extLst>
              <a:ext uri="{FF2B5EF4-FFF2-40B4-BE49-F238E27FC236}">
                <a16:creationId xmlns:a16="http://schemas.microsoft.com/office/drawing/2014/main" id="{9C2CDE80-05B4-473F-86D1-7AF509E7F16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969191" y="42770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Sprecher einfügen</a:t>
            </a:r>
          </a:p>
        </p:txBody>
      </p:sp>
      <p:sp>
        <p:nvSpPr>
          <p:cNvPr id="66" name="Textplatzhalter 27">
            <a:extLst>
              <a:ext uri="{FF2B5EF4-FFF2-40B4-BE49-F238E27FC236}">
                <a16:creationId xmlns:a16="http://schemas.microsoft.com/office/drawing/2014/main" id="{6F050946-F4C0-4031-9035-83228F2CD33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509624" y="4277097"/>
            <a:ext cx="125565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67" name="Textplatzhalter 27">
            <a:extLst>
              <a:ext uri="{FF2B5EF4-FFF2-40B4-BE49-F238E27FC236}">
                <a16:creationId xmlns:a16="http://schemas.microsoft.com/office/drawing/2014/main" id="{67A6646C-34B1-41AF-974A-7701924B8F1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969191" y="363612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Sprecher einfügen</a:t>
            </a:r>
          </a:p>
        </p:txBody>
      </p:sp>
      <p:sp>
        <p:nvSpPr>
          <p:cNvPr id="68" name="Textplatzhalter 27">
            <a:extLst>
              <a:ext uri="{FF2B5EF4-FFF2-40B4-BE49-F238E27FC236}">
                <a16:creationId xmlns:a16="http://schemas.microsoft.com/office/drawing/2014/main" id="{F0A6D2DF-DEFC-4205-A445-87CB0A2F598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509624" y="3636122"/>
            <a:ext cx="125565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69" name="Textplatzhalter 27">
            <a:extLst>
              <a:ext uri="{FF2B5EF4-FFF2-40B4-BE49-F238E27FC236}">
                <a16:creationId xmlns:a16="http://schemas.microsoft.com/office/drawing/2014/main" id="{F6E464A8-67B0-4D57-BDEA-D593750802D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69191" y="299514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Sprecher einfügen</a:t>
            </a:r>
          </a:p>
        </p:txBody>
      </p:sp>
      <p:sp>
        <p:nvSpPr>
          <p:cNvPr id="70" name="Textplatzhalter 27">
            <a:extLst>
              <a:ext uri="{FF2B5EF4-FFF2-40B4-BE49-F238E27FC236}">
                <a16:creationId xmlns:a16="http://schemas.microsoft.com/office/drawing/2014/main" id="{AE18289F-C070-4C49-BD27-4B3B71C4F2B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509624" y="2995147"/>
            <a:ext cx="125565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71" name="Textplatzhalter 27">
            <a:extLst>
              <a:ext uri="{FF2B5EF4-FFF2-40B4-BE49-F238E27FC236}">
                <a16:creationId xmlns:a16="http://schemas.microsoft.com/office/drawing/2014/main" id="{513FBBB8-BEE2-4912-8122-8E23A86C57B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969191" y="23541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Sprecher einfügen</a:t>
            </a:r>
          </a:p>
        </p:txBody>
      </p:sp>
      <p:sp>
        <p:nvSpPr>
          <p:cNvPr id="72" name="Textplatzhalter 27">
            <a:extLst>
              <a:ext uri="{FF2B5EF4-FFF2-40B4-BE49-F238E27FC236}">
                <a16:creationId xmlns:a16="http://schemas.microsoft.com/office/drawing/2014/main" id="{A4D1F226-2C6E-442A-954D-E2B74379D67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509624" y="2354172"/>
            <a:ext cx="125565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</p:spTree>
    <p:extLst>
      <p:ext uri="{BB962C8B-B14F-4D97-AF65-F5344CB8AC3E}">
        <p14:creationId xmlns:p14="http://schemas.microsoft.com/office/powerpoint/2010/main" val="329164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extplatzhalter 12">
            <a:extLst>
              <a:ext uri="{FF2B5EF4-FFF2-40B4-BE49-F238E27FC236}">
                <a16:creationId xmlns:a16="http://schemas.microsoft.com/office/drawing/2014/main" id="{9419B69F-23AC-4F0C-AE67-A97725504D6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8319" y="163221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67" name="Textplatzhalter 12">
            <a:extLst>
              <a:ext uri="{FF2B5EF4-FFF2-40B4-BE49-F238E27FC236}">
                <a16:creationId xmlns:a16="http://schemas.microsoft.com/office/drawing/2014/main" id="{87C23388-79A6-4550-944A-CEFD3A45764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8319" y="6091175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68" name="Textplatzhalter 12">
            <a:extLst>
              <a:ext uri="{FF2B5EF4-FFF2-40B4-BE49-F238E27FC236}">
                <a16:creationId xmlns:a16="http://schemas.microsoft.com/office/drawing/2014/main" id="{DD8CFE88-61CB-4244-8ECE-D7766410BBA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8319" y="545418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69" name="Textplatzhalter 12">
            <a:extLst>
              <a:ext uri="{FF2B5EF4-FFF2-40B4-BE49-F238E27FC236}">
                <a16:creationId xmlns:a16="http://schemas.microsoft.com/office/drawing/2014/main" id="{FF79CEE5-E40A-4D93-B783-AABDC5F5C7B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8319" y="4817187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70" name="Textplatzhalter 12">
            <a:extLst>
              <a:ext uri="{FF2B5EF4-FFF2-40B4-BE49-F238E27FC236}">
                <a16:creationId xmlns:a16="http://schemas.microsoft.com/office/drawing/2014/main" id="{E25563C2-F390-41DF-8B66-6FE3F35B758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8319" y="418019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71" name="Textplatzhalter 12">
            <a:extLst>
              <a:ext uri="{FF2B5EF4-FFF2-40B4-BE49-F238E27FC236}">
                <a16:creationId xmlns:a16="http://schemas.microsoft.com/office/drawing/2014/main" id="{170A561E-6932-40A5-BF4F-8E915E25BC1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8319" y="3543197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72" name="Textplatzhalter 12">
            <a:extLst>
              <a:ext uri="{FF2B5EF4-FFF2-40B4-BE49-F238E27FC236}">
                <a16:creationId xmlns:a16="http://schemas.microsoft.com/office/drawing/2014/main" id="{65D0B265-DECE-417F-AB3D-7A87574E2F9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8319" y="290620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73" name="Textplatzhalter 12">
            <a:extLst>
              <a:ext uri="{FF2B5EF4-FFF2-40B4-BE49-F238E27FC236}">
                <a16:creationId xmlns:a16="http://schemas.microsoft.com/office/drawing/2014/main" id="{157B6548-27DE-4EC0-913F-C14F49FA7AF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8319" y="2269207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3" name="Textplatzhalter 12">
            <a:extLst>
              <a:ext uri="{FF2B5EF4-FFF2-40B4-BE49-F238E27FC236}">
                <a16:creationId xmlns:a16="http://schemas.microsoft.com/office/drawing/2014/main" id="{480C8321-1D72-4546-ACBC-6E0787AC9A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609040"/>
            <a:ext cx="12192000" cy="663053"/>
          </a:xfrm>
          <a:solidFill>
            <a:srgbClr val="7F7F7F"/>
          </a:solidFill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chemeClr val="bg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47" name="Textplatzhalter 12">
            <a:extLst>
              <a:ext uri="{FF2B5EF4-FFF2-40B4-BE49-F238E27FC236}">
                <a16:creationId xmlns:a16="http://schemas.microsoft.com/office/drawing/2014/main" id="{F113A3A0-3CB1-4582-BBE4-5170002C0C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2890990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48" name="Textplatzhalter 12">
            <a:extLst>
              <a:ext uri="{FF2B5EF4-FFF2-40B4-BE49-F238E27FC236}">
                <a16:creationId xmlns:a16="http://schemas.microsoft.com/office/drawing/2014/main" id="{5E404E45-039F-4BD3-B00C-A7311E52D53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531965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49" name="Textplatzhalter 12">
            <a:extLst>
              <a:ext uri="{FF2B5EF4-FFF2-40B4-BE49-F238E27FC236}">
                <a16:creationId xmlns:a16="http://schemas.microsoft.com/office/drawing/2014/main" id="{E15F7779-9874-43F8-9135-D5BE311D3A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4172940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+mn-lt"/>
                <a:cs typeface="ZEISS Frutiger Next W1G Medium" panose="020B0602030202020203" pitchFamily="34" charset="0"/>
              </a:defRPr>
            </a:lvl1pPr>
          </a:lstStyle>
          <a:p>
            <a:pPr lvl="0"/>
            <a:r>
              <a:rPr lang="de-DE"/>
              <a:t>5</a:t>
            </a:r>
          </a:p>
        </p:txBody>
      </p:sp>
      <p:sp>
        <p:nvSpPr>
          <p:cNvPr id="50" name="Textplatzhalter 12">
            <a:extLst>
              <a:ext uri="{FF2B5EF4-FFF2-40B4-BE49-F238E27FC236}">
                <a16:creationId xmlns:a16="http://schemas.microsoft.com/office/drawing/2014/main" id="{5F9C8197-1276-4D10-B7B9-75BFFF1BA0C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813915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+mn-lt"/>
                <a:cs typeface="ZEISS Frutiger Next W1G Medium" panose="020B0602030202020203" pitchFamily="34" charset="0"/>
              </a:defRPr>
            </a:lvl1pPr>
          </a:lstStyle>
          <a:p>
            <a:pPr lvl="0"/>
            <a:r>
              <a:rPr lang="de-DE"/>
              <a:t>6</a:t>
            </a:r>
          </a:p>
        </p:txBody>
      </p:sp>
      <p:sp>
        <p:nvSpPr>
          <p:cNvPr id="51" name="Textplatzhalter 12">
            <a:extLst>
              <a:ext uri="{FF2B5EF4-FFF2-40B4-BE49-F238E27FC236}">
                <a16:creationId xmlns:a16="http://schemas.microsoft.com/office/drawing/2014/main" id="{409AAE60-F87F-43DF-9C66-F204272E7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5454892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7</a:t>
            </a:r>
          </a:p>
        </p:txBody>
      </p:sp>
      <p:sp>
        <p:nvSpPr>
          <p:cNvPr id="57" name="Textplatzhalter 12">
            <a:extLst>
              <a:ext uri="{FF2B5EF4-FFF2-40B4-BE49-F238E27FC236}">
                <a16:creationId xmlns:a16="http://schemas.microsoft.com/office/drawing/2014/main" id="{EBD248D3-CAEC-4C8E-885B-E957F3B62F6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0" y="2250015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7F7F7F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008D678-508B-4EAC-8996-9B20ADAA3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44" name="Gerade Verbindung 71">
            <a:extLst>
              <a:ext uri="{FF2B5EF4-FFF2-40B4-BE49-F238E27FC236}">
                <a16:creationId xmlns:a16="http://schemas.microsoft.com/office/drawing/2014/main" id="{25F92CEA-1B2A-4107-853E-0010403CE96B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BB278DD4-3FCE-4782-AF12-45EC18329176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0C57EE4-17A8-41AE-AD8F-0C906241B7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8694" y="1713197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Einführung</a:t>
            </a:r>
          </a:p>
        </p:txBody>
      </p:sp>
      <p:sp>
        <p:nvSpPr>
          <p:cNvPr id="29" name="Textplatzhalter 27">
            <a:extLst>
              <a:ext uri="{FF2B5EF4-FFF2-40B4-BE49-F238E27FC236}">
                <a16:creationId xmlns:a16="http://schemas.microsoft.com/office/drawing/2014/main" id="{EDC138DF-81E8-468E-BE50-5A359E245A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8694" y="5559049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Quellen</a:t>
            </a:r>
          </a:p>
        </p:txBody>
      </p:sp>
      <p:sp>
        <p:nvSpPr>
          <p:cNvPr id="30" name="Textplatzhalter 27">
            <a:extLst>
              <a:ext uri="{FF2B5EF4-FFF2-40B4-BE49-F238E27FC236}">
                <a16:creationId xmlns:a16="http://schemas.microsoft.com/office/drawing/2014/main" id="{E67A7442-A1B4-49EA-9268-A28469018A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8694" y="4918072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Software und Ausblick </a:t>
            </a:r>
          </a:p>
        </p:txBody>
      </p:sp>
      <p:sp>
        <p:nvSpPr>
          <p:cNvPr id="31" name="Textplatzhalter 27">
            <a:extLst>
              <a:ext uri="{FF2B5EF4-FFF2-40B4-BE49-F238E27FC236}">
                <a16:creationId xmlns:a16="http://schemas.microsoft.com/office/drawing/2014/main" id="{9B7A6C1A-6494-4115-8E54-99DC0DB45D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08694" y="4277097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Phase 3: EMV </a:t>
            </a:r>
          </a:p>
        </p:txBody>
      </p:sp>
      <p:sp>
        <p:nvSpPr>
          <p:cNvPr id="32" name="Textplatzhalter 27">
            <a:extLst>
              <a:ext uri="{FF2B5EF4-FFF2-40B4-BE49-F238E27FC236}">
                <a16:creationId xmlns:a16="http://schemas.microsoft.com/office/drawing/2014/main" id="{9D8685BE-5979-43B0-AC0C-74054987778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08694" y="3636122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Phase 2: Schaltplanerläuterung </a:t>
            </a:r>
          </a:p>
        </p:txBody>
      </p:sp>
      <p:sp>
        <p:nvSpPr>
          <p:cNvPr id="34" name="Textplatzhalter 27">
            <a:extLst>
              <a:ext uri="{FF2B5EF4-FFF2-40B4-BE49-F238E27FC236}">
                <a16:creationId xmlns:a16="http://schemas.microsoft.com/office/drawing/2014/main" id="{F5438DE9-D033-4100-9761-E4FFFC202F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08694" y="2354172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Was ist ein Oszilloskop</a:t>
            </a:r>
          </a:p>
        </p:txBody>
      </p:sp>
      <p:sp>
        <p:nvSpPr>
          <p:cNvPr id="55" name="Textplatzhalter 27">
            <a:extLst>
              <a:ext uri="{FF2B5EF4-FFF2-40B4-BE49-F238E27FC236}">
                <a16:creationId xmlns:a16="http://schemas.microsoft.com/office/drawing/2014/main" id="{40334521-65D4-4254-A9E2-9118257ED99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08694" y="2995147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Phase 1: Konzept und Design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AF805B4-76E3-4826-9409-49DD32B8BDF3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4F4D5BA-CD6F-4502-A501-018ECBEDA881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3" name="Textplatzhalter 27">
            <a:extLst>
              <a:ext uri="{FF2B5EF4-FFF2-40B4-BE49-F238E27FC236}">
                <a16:creationId xmlns:a16="http://schemas.microsoft.com/office/drawing/2014/main" id="{0BF1CB17-6946-48DD-86FB-32D08D0822B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969191" y="17131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Vogel</a:t>
            </a:r>
          </a:p>
        </p:txBody>
      </p:sp>
      <p:sp>
        <p:nvSpPr>
          <p:cNvPr id="45" name="Textplatzhalter 27">
            <a:extLst>
              <a:ext uri="{FF2B5EF4-FFF2-40B4-BE49-F238E27FC236}">
                <a16:creationId xmlns:a16="http://schemas.microsoft.com/office/drawing/2014/main" id="{7343DC8B-15EF-4462-8F1D-8B232DB153C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509624" y="1713197"/>
            <a:ext cx="126581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Folie 4</a:t>
            </a:r>
          </a:p>
        </p:txBody>
      </p:sp>
      <p:sp>
        <p:nvSpPr>
          <p:cNvPr id="46" name="Textplatzhalter 27">
            <a:extLst>
              <a:ext uri="{FF2B5EF4-FFF2-40B4-BE49-F238E27FC236}">
                <a16:creationId xmlns:a16="http://schemas.microsoft.com/office/drawing/2014/main" id="{0256E43A-F609-4966-88A3-E764C8E933A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969191" y="5559049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-</a:t>
            </a:r>
          </a:p>
        </p:txBody>
      </p:sp>
      <p:sp>
        <p:nvSpPr>
          <p:cNvPr id="52" name="Textplatzhalter 27">
            <a:extLst>
              <a:ext uri="{FF2B5EF4-FFF2-40B4-BE49-F238E27FC236}">
                <a16:creationId xmlns:a16="http://schemas.microsoft.com/office/drawing/2014/main" id="{D314D9B0-545E-4726-9C7D-4B41F1DCC41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509624" y="5559049"/>
            <a:ext cx="126581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53" name="Textplatzhalter 27">
            <a:extLst>
              <a:ext uri="{FF2B5EF4-FFF2-40B4-BE49-F238E27FC236}">
                <a16:creationId xmlns:a16="http://schemas.microsoft.com/office/drawing/2014/main" id="{5B404D5A-25EC-428D-A164-EDF9F1A1F29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69191" y="49180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Vogel / Bullinger</a:t>
            </a:r>
          </a:p>
        </p:txBody>
      </p:sp>
      <p:sp>
        <p:nvSpPr>
          <p:cNvPr id="56" name="Textplatzhalter 27">
            <a:extLst>
              <a:ext uri="{FF2B5EF4-FFF2-40B4-BE49-F238E27FC236}">
                <a16:creationId xmlns:a16="http://schemas.microsoft.com/office/drawing/2014/main" id="{0B3B5724-A642-4D4A-A3DC-96853A6CC70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509624" y="4918072"/>
            <a:ext cx="126581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58" name="Textplatzhalter 27">
            <a:extLst>
              <a:ext uri="{FF2B5EF4-FFF2-40B4-BE49-F238E27FC236}">
                <a16:creationId xmlns:a16="http://schemas.microsoft.com/office/drawing/2014/main" id="{6B941CAD-84CE-4A6D-93A1-9E846EDD3F7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969191" y="42770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Vogel</a:t>
            </a:r>
          </a:p>
        </p:txBody>
      </p:sp>
      <p:sp>
        <p:nvSpPr>
          <p:cNvPr id="59" name="Textplatzhalter 27">
            <a:extLst>
              <a:ext uri="{FF2B5EF4-FFF2-40B4-BE49-F238E27FC236}">
                <a16:creationId xmlns:a16="http://schemas.microsoft.com/office/drawing/2014/main" id="{5E53BCA1-3B77-4670-BD4C-CCC42A156D7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509624" y="4277097"/>
            <a:ext cx="126581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60" name="Textplatzhalter 27">
            <a:extLst>
              <a:ext uri="{FF2B5EF4-FFF2-40B4-BE49-F238E27FC236}">
                <a16:creationId xmlns:a16="http://schemas.microsoft.com/office/drawing/2014/main" id="{1B2C773C-FA2B-434A-93F1-0569BA6479F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969191" y="363612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Vogel / Bullinger</a:t>
            </a:r>
          </a:p>
        </p:txBody>
      </p:sp>
      <p:sp>
        <p:nvSpPr>
          <p:cNvPr id="61" name="Textplatzhalter 27">
            <a:extLst>
              <a:ext uri="{FF2B5EF4-FFF2-40B4-BE49-F238E27FC236}">
                <a16:creationId xmlns:a16="http://schemas.microsoft.com/office/drawing/2014/main" id="{558DB475-3747-473C-A159-2E4289E0AB3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509624" y="3636122"/>
            <a:ext cx="126581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Folie 21-29</a:t>
            </a:r>
          </a:p>
        </p:txBody>
      </p:sp>
      <p:sp>
        <p:nvSpPr>
          <p:cNvPr id="62" name="Textplatzhalter 27">
            <a:extLst>
              <a:ext uri="{FF2B5EF4-FFF2-40B4-BE49-F238E27FC236}">
                <a16:creationId xmlns:a16="http://schemas.microsoft.com/office/drawing/2014/main" id="{789CDBD4-662F-4F1C-883C-56A1B71E837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69191" y="299514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Vogel / Bullinger</a:t>
            </a:r>
          </a:p>
        </p:txBody>
      </p:sp>
      <p:sp>
        <p:nvSpPr>
          <p:cNvPr id="63" name="Textplatzhalter 27">
            <a:extLst>
              <a:ext uri="{FF2B5EF4-FFF2-40B4-BE49-F238E27FC236}">
                <a16:creationId xmlns:a16="http://schemas.microsoft.com/office/drawing/2014/main" id="{8546BEDF-CD0C-40AC-9D3E-F322DA4C04A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509624" y="2995147"/>
            <a:ext cx="126581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Folie 10-19</a:t>
            </a:r>
          </a:p>
        </p:txBody>
      </p:sp>
      <p:sp>
        <p:nvSpPr>
          <p:cNvPr id="64" name="Textplatzhalter 27">
            <a:extLst>
              <a:ext uri="{FF2B5EF4-FFF2-40B4-BE49-F238E27FC236}">
                <a16:creationId xmlns:a16="http://schemas.microsoft.com/office/drawing/2014/main" id="{ADF9A45B-541C-4922-BFDA-4D90116FDC2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969191" y="23541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Vogel</a:t>
            </a:r>
          </a:p>
        </p:txBody>
      </p:sp>
      <p:sp>
        <p:nvSpPr>
          <p:cNvPr id="65" name="Textplatzhalter 27">
            <a:extLst>
              <a:ext uri="{FF2B5EF4-FFF2-40B4-BE49-F238E27FC236}">
                <a16:creationId xmlns:a16="http://schemas.microsoft.com/office/drawing/2014/main" id="{7BAA1323-B2C4-403E-9999-2B75E7B097C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509624" y="2354172"/>
            <a:ext cx="1265816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Folie 6-8</a:t>
            </a:r>
          </a:p>
        </p:txBody>
      </p:sp>
    </p:spTree>
    <p:extLst>
      <p:ext uri="{BB962C8B-B14F-4D97-AF65-F5344CB8AC3E}">
        <p14:creationId xmlns:p14="http://schemas.microsoft.com/office/powerpoint/2010/main" val="1530563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Bildplatzhalter 86">
            <a:extLst>
              <a:ext uri="{FF2B5EF4-FFF2-40B4-BE49-F238E27FC236}">
                <a16:creationId xmlns:a16="http://schemas.microsoft.com/office/drawing/2014/main" id="{FB389B10-F29E-47A3-8BD0-A0132B3B5CE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0" y="3429000"/>
            <a:ext cx="12191985" cy="3429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de-DE"/>
              <a:t> 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5D536C54-AD88-4971-B5AC-E8FD5A4752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18319" y="2681949"/>
            <a:ext cx="9670705" cy="344710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Aft>
                <a:spcPts val="0"/>
              </a:spcAft>
              <a:defRPr sz="2000">
                <a:solidFill>
                  <a:srgbClr val="141E8C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8" name="Titel 1">
            <a:extLst>
              <a:ext uri="{FF2B5EF4-FFF2-40B4-BE49-F238E27FC236}">
                <a16:creationId xmlns:a16="http://schemas.microsoft.com/office/drawing/2014/main" id="{6E836B88-8EA3-4A7F-B203-70EF11B1F6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1052513"/>
            <a:ext cx="9670705" cy="1370806"/>
          </a:xfrm>
        </p:spPr>
        <p:txBody>
          <a:bodyPr wrap="square" anchor="b" anchorCtr="0">
            <a:noAutofit/>
          </a:bodyPr>
          <a:lstStyle>
            <a:lvl1pPr>
              <a:lnSpc>
                <a:spcPts val="5000"/>
              </a:lnSpc>
              <a:defRPr sz="4500" b="1"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12257215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|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1628776"/>
            <a:ext cx="8663775" cy="1962150"/>
          </a:xfrm>
        </p:spPr>
        <p:txBody>
          <a:bodyPr anchor="b" anchorCtr="0">
            <a:noAutofit/>
          </a:bodyPr>
          <a:lstStyle>
            <a:lvl1pPr>
              <a:lnSpc>
                <a:spcPts val="5000"/>
              </a:lnSpc>
              <a:defRPr sz="4500" b="1"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5D536C54-AD88-4971-B5AC-E8FD5A47527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18319" y="3849556"/>
            <a:ext cx="8663775" cy="1296124"/>
          </a:xfrm>
        </p:spPr>
        <p:txBody>
          <a:bodyPr wrap="square">
            <a:noAutofit/>
          </a:bodyPr>
          <a:lstStyle>
            <a:lvl1pPr>
              <a:lnSpc>
                <a:spcPct val="120000"/>
              </a:lnSpc>
              <a:spcAft>
                <a:spcPts val="0"/>
              </a:spcAft>
              <a:defRPr sz="2000">
                <a:solidFill>
                  <a:srgbClr val="141E8C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</a:t>
            </a:r>
            <a:br>
              <a:rPr lang="de-DE"/>
            </a:br>
            <a:r>
              <a:rPr lang="de-DE"/>
              <a:t>bearbeiten</a:t>
            </a:r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C8851101-CF90-45DE-817D-DF9BD412A63A}"/>
              </a:ext>
            </a:extLst>
          </p:cNvPr>
          <p:cNvGrpSpPr/>
          <p:nvPr userDrawn="1"/>
        </p:nvGrpSpPr>
        <p:grpSpPr>
          <a:xfrm>
            <a:off x="299275" y="-697714"/>
            <a:ext cx="11375605" cy="411956"/>
            <a:chOff x="299275" y="6944502"/>
            <a:chExt cx="11375605" cy="411956"/>
          </a:xfrm>
        </p:grpSpPr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8D2CB68E-0BEE-4444-89BC-9224017D201A}"/>
                </a:ext>
              </a:extLst>
            </p:cNvPr>
            <p:cNvGrpSpPr/>
            <p:nvPr/>
          </p:nvGrpSpPr>
          <p:grpSpPr>
            <a:xfrm rot="16200000">
              <a:off x="2016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69" name="Gerader Verbinder 68">
                <a:extLst>
                  <a:ext uri="{FF2B5EF4-FFF2-40B4-BE49-F238E27FC236}">
                    <a16:creationId xmlns:a16="http://schemas.microsoft.com/office/drawing/2014/main" id="{3B55A628-F151-42E2-BBA7-A77BB263AC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5B3ACA54-FBF7-468C-89BF-B92229E0E6A8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A985EFA5-C3EC-41F4-BA42-582F6BBB87DC}"/>
                </a:ext>
              </a:extLst>
            </p:cNvPr>
            <p:cNvGrpSpPr/>
            <p:nvPr/>
          </p:nvGrpSpPr>
          <p:grpSpPr>
            <a:xfrm rot="16200000">
              <a:off x="56372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49" name="Gerader Verbinder 48">
                <a:extLst>
                  <a:ext uri="{FF2B5EF4-FFF2-40B4-BE49-F238E27FC236}">
                    <a16:creationId xmlns:a16="http://schemas.microsoft.com/office/drawing/2014/main" id="{A53B3EC3-5408-4A64-9457-103627E8E87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Textfeld 51">
                <a:extLst>
                  <a:ext uri="{FF2B5EF4-FFF2-40B4-BE49-F238E27FC236}">
                    <a16:creationId xmlns:a16="http://schemas.microsoft.com/office/drawing/2014/main" id="{AD70F783-A807-4089-AFCC-84B3D36AF8FF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5E00F1D3-083C-419C-A05F-6E840773F8C6}"/>
                </a:ext>
              </a:extLst>
            </p:cNvPr>
            <p:cNvGrpSpPr/>
            <p:nvPr/>
          </p:nvGrpSpPr>
          <p:grpSpPr>
            <a:xfrm rot="5400000">
              <a:off x="6093326" y="7042149"/>
              <a:ext cx="411956" cy="216662"/>
              <a:chOff x="-615197" y="4346120"/>
              <a:chExt cx="411956" cy="216662"/>
            </a:xfrm>
          </p:grpSpPr>
          <p:cxnSp>
            <p:nvCxnSpPr>
              <p:cNvPr id="47" name="Gerader Verbinder 46">
                <a:extLst>
                  <a:ext uri="{FF2B5EF4-FFF2-40B4-BE49-F238E27FC236}">
                    <a16:creationId xmlns:a16="http://schemas.microsoft.com/office/drawing/2014/main" id="{73F688A9-A34C-4E99-8443-41FD9DD554D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Textfeld 47">
                <a:extLst>
                  <a:ext uri="{FF2B5EF4-FFF2-40B4-BE49-F238E27FC236}">
                    <a16:creationId xmlns:a16="http://schemas.microsoft.com/office/drawing/2014/main" id="{054EA4E0-2D3B-40AF-93E7-C4E69DB886F1}"/>
                  </a:ext>
                </a:extLst>
              </p:cNvPr>
              <p:cNvSpPr txBox="1"/>
              <p:nvPr/>
            </p:nvSpPr>
            <p:spPr>
              <a:xfrm rot="10800000">
                <a:off x="-615197" y="4346120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4EAC7821-B6F6-4B00-93DA-718D985BB18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4" name="Gruppieren 43">
              <a:extLst>
                <a:ext uri="{FF2B5EF4-FFF2-40B4-BE49-F238E27FC236}">
                  <a16:creationId xmlns:a16="http://schemas.microsoft.com/office/drawing/2014/main" id="{D6D8242D-E611-482B-B644-E20F99E6399A}"/>
                </a:ext>
              </a:extLst>
            </p:cNvPr>
            <p:cNvGrpSpPr/>
            <p:nvPr/>
          </p:nvGrpSpPr>
          <p:grpSpPr>
            <a:xfrm rot="16200000">
              <a:off x="11360571" y="7042149"/>
              <a:ext cx="411956" cy="216662"/>
              <a:chOff x="-615197" y="4295013"/>
              <a:chExt cx="411956" cy="216662"/>
            </a:xfrm>
          </p:grpSpPr>
          <p:cxnSp>
            <p:nvCxnSpPr>
              <p:cNvPr id="45" name="Gerader Verbinder 44">
                <a:extLst>
                  <a:ext uri="{FF2B5EF4-FFF2-40B4-BE49-F238E27FC236}">
                    <a16:creationId xmlns:a16="http://schemas.microsoft.com/office/drawing/2014/main" id="{DEF62B53-F861-4084-A4DA-5B9E4CEC25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8A70FEE0-2D07-4BA1-8837-99C7CB1AD7D9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</p:grp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BE8C256F-FE6B-489E-8694-29A0B807A6FE}"/>
              </a:ext>
            </a:extLst>
          </p:cNvPr>
          <p:cNvGrpSpPr/>
          <p:nvPr userDrawn="1"/>
        </p:nvGrpSpPr>
        <p:grpSpPr>
          <a:xfrm>
            <a:off x="-697714" y="80201"/>
            <a:ext cx="411956" cy="6729801"/>
            <a:chOff x="-502267" y="80201"/>
            <a:chExt cx="411956" cy="6729801"/>
          </a:xfrm>
        </p:grpSpPr>
        <p:grpSp>
          <p:nvGrpSpPr>
            <p:cNvPr id="88" name="Gruppieren 87">
              <a:extLst>
                <a:ext uri="{FF2B5EF4-FFF2-40B4-BE49-F238E27FC236}">
                  <a16:creationId xmlns:a16="http://schemas.microsoft.com/office/drawing/2014/main" id="{0A234D09-56CF-476A-8C7A-D13F996B21F8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16662"/>
              <a:chOff x="-615197" y="4452994"/>
              <a:chExt cx="411956" cy="216662"/>
            </a:xfrm>
          </p:grpSpPr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CEFFCD59-9BA6-4C0F-9567-D5111D0929F1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92</a:t>
                </a:r>
              </a:p>
            </p:txBody>
          </p:sp>
          <p:cxnSp>
            <p:nvCxnSpPr>
              <p:cNvPr id="105" name="Gerader Verbinder 104">
                <a:extLst>
                  <a:ext uri="{FF2B5EF4-FFF2-40B4-BE49-F238E27FC236}">
                    <a16:creationId xmlns:a16="http://schemas.microsoft.com/office/drawing/2014/main" id="{AB5C5361-5F0F-482A-8470-DEFDBCA2FC5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9" name="Gruppieren 88">
              <a:extLst>
                <a:ext uri="{FF2B5EF4-FFF2-40B4-BE49-F238E27FC236}">
                  <a16:creationId xmlns:a16="http://schemas.microsoft.com/office/drawing/2014/main" id="{39BBFCE8-6F76-45B8-85A8-68C6D7EE2D83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102" name="Gerader Verbinder 101">
                <a:extLst>
                  <a:ext uri="{FF2B5EF4-FFF2-40B4-BE49-F238E27FC236}">
                    <a16:creationId xmlns:a16="http://schemas.microsoft.com/office/drawing/2014/main" id="{805C3138-5CEA-45F9-94CB-6E51077285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3" name="Textfeld 102">
                <a:extLst>
                  <a:ext uri="{FF2B5EF4-FFF2-40B4-BE49-F238E27FC236}">
                    <a16:creationId xmlns:a16="http://schemas.microsoft.com/office/drawing/2014/main" id="{0E527EA5-913D-4F56-8DB9-C5A075067066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,40</a:t>
                </a:r>
              </a:p>
            </p:txBody>
          </p:sp>
        </p:grpSp>
        <p:grpSp>
          <p:nvGrpSpPr>
            <p:cNvPr id="90" name="Gruppieren 89">
              <a:extLst>
                <a:ext uri="{FF2B5EF4-FFF2-40B4-BE49-F238E27FC236}">
                  <a16:creationId xmlns:a16="http://schemas.microsoft.com/office/drawing/2014/main" id="{A4022789-2EEE-46C0-9954-0D2504BEA68B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675E44F3-0329-4CB1-B406-448DCEDA2A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1" name="Textfeld 100">
                <a:extLst>
                  <a:ext uri="{FF2B5EF4-FFF2-40B4-BE49-F238E27FC236}">
                    <a16:creationId xmlns:a16="http://schemas.microsoft.com/office/drawing/2014/main" id="{158BE42F-E470-47C9-A978-3D3BE2B11B0A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00</a:t>
                </a:r>
              </a:p>
            </p:txBody>
          </p:sp>
        </p:grpSp>
        <p:grpSp>
          <p:nvGrpSpPr>
            <p:cNvPr id="91" name="Gruppieren 90">
              <a:extLst>
                <a:ext uri="{FF2B5EF4-FFF2-40B4-BE49-F238E27FC236}">
                  <a16:creationId xmlns:a16="http://schemas.microsoft.com/office/drawing/2014/main" id="{7A83B29F-BC79-418C-B072-8FAA9F359DC1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98" name="Gerader Verbinder 97">
                <a:extLst>
                  <a:ext uri="{FF2B5EF4-FFF2-40B4-BE49-F238E27FC236}">
                    <a16:creationId xmlns:a16="http://schemas.microsoft.com/office/drawing/2014/main" id="{6927F45F-C9F3-40DC-ABD3-E8D4F1BE57C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9" name="Textfeld 98">
                <a:extLst>
                  <a:ext uri="{FF2B5EF4-FFF2-40B4-BE49-F238E27FC236}">
                    <a16:creationId xmlns:a16="http://schemas.microsoft.com/office/drawing/2014/main" id="{A75BB589-CBAF-474E-B7A3-D34833594677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,60</a:t>
                </a:r>
              </a:p>
            </p:txBody>
          </p:sp>
        </p:grpSp>
        <p:grpSp>
          <p:nvGrpSpPr>
            <p:cNvPr id="92" name="Gruppieren 91">
              <a:extLst>
                <a:ext uri="{FF2B5EF4-FFF2-40B4-BE49-F238E27FC236}">
                  <a16:creationId xmlns:a16="http://schemas.microsoft.com/office/drawing/2014/main" id="{A98127A2-7281-42CA-9A29-487EE392A705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96" name="Gerader Verbinder 95">
                <a:extLst>
                  <a:ext uri="{FF2B5EF4-FFF2-40B4-BE49-F238E27FC236}">
                    <a16:creationId xmlns:a16="http://schemas.microsoft.com/office/drawing/2014/main" id="{A5CBCAAA-AA82-498E-94D9-7A8D55C9A27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7" name="Textfeld 96">
                <a:extLst>
                  <a:ext uri="{FF2B5EF4-FFF2-40B4-BE49-F238E27FC236}">
                    <a16:creationId xmlns:a16="http://schemas.microsoft.com/office/drawing/2014/main" id="{08DED87C-FF0B-4F72-A152-6AAE3EB3FE74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,00</a:t>
                </a:r>
              </a:p>
            </p:txBody>
          </p:sp>
        </p:grpSp>
        <p:grpSp>
          <p:nvGrpSpPr>
            <p:cNvPr id="93" name="Gruppieren 92">
              <a:extLst>
                <a:ext uri="{FF2B5EF4-FFF2-40B4-BE49-F238E27FC236}">
                  <a16:creationId xmlns:a16="http://schemas.microsoft.com/office/drawing/2014/main" id="{A0CAE587-CBBC-46D7-B547-9410C2855CF1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94" name="Gerader Verbinder 93">
                <a:extLst>
                  <a:ext uri="{FF2B5EF4-FFF2-40B4-BE49-F238E27FC236}">
                    <a16:creationId xmlns:a16="http://schemas.microsoft.com/office/drawing/2014/main" id="{F07CD434-12AE-423A-AA17-A75970629D9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ACDE4BFD-2CD6-4C92-95D4-E3D45229292A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70</a:t>
                </a:r>
              </a:p>
            </p:txBody>
          </p:sp>
        </p:grpSp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CC3594EE-A331-C02C-BCD7-3265738511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7067" y="188532"/>
            <a:ext cx="1241677" cy="51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6730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CDF64D8-43C9-4659-8FEB-D25E62DE2319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21D1B0B-1BA8-4136-AF7B-59A487C42E1D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18319" y="1631837"/>
            <a:ext cx="11160000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10" name="Gerade Verbindung 71">
            <a:extLst>
              <a:ext uri="{FF2B5EF4-FFF2-40B4-BE49-F238E27FC236}">
                <a16:creationId xmlns:a16="http://schemas.microsoft.com/office/drawing/2014/main" id="{06BCC614-210D-45D8-85A7-4DB4D413AA8E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D8749DC-32EC-49E7-98D8-A0B4F1E673A7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25. Juni 2025</a:t>
            </a:fld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A044AFA5-5C75-4E42-9ABE-DF2BA41D37CC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5020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folie |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162F79FD-685F-4AD0-AD07-F82DCA60004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12A02888-F9A5-43B4-9619-58072584F513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518319" y="1631837"/>
            <a:ext cx="5433219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D03185D6-5C86-4FFC-9297-944DDAF3BE36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6242844" y="1631837"/>
            <a:ext cx="5433219" cy="4464000"/>
          </a:xfrm>
        </p:spPr>
        <p:txBody>
          <a:bodyPr rIns="540000"/>
          <a:lstStyle>
            <a:lvl1pPr>
              <a:defRPr>
                <a:latin typeface="ZEISS Frutiger Next W1G"/>
                <a:cs typeface="Arial" panose="020B0604020202020204" pitchFamily="34" charset="0"/>
              </a:defRPr>
            </a:lvl1pPr>
            <a:lvl2pPr>
              <a:defRPr>
                <a:latin typeface="ZEISS Frutiger Next W1G"/>
                <a:cs typeface="Arial" panose="020B0604020202020204" pitchFamily="34" charset="0"/>
              </a:defRPr>
            </a:lvl2pPr>
            <a:lvl3pPr>
              <a:defRPr>
                <a:latin typeface="ZEISS Frutiger Next W1G"/>
                <a:cs typeface="Arial" panose="020B0604020202020204" pitchFamily="34" charset="0"/>
              </a:defRPr>
            </a:lvl3pPr>
            <a:lvl4pPr>
              <a:defRPr>
                <a:latin typeface="ZEISS Frutiger Next W1G"/>
                <a:cs typeface="Arial" panose="020B0604020202020204" pitchFamily="34" charset="0"/>
              </a:defRPr>
            </a:lvl4pPr>
            <a:lvl5pPr>
              <a:defRPr>
                <a:latin typeface="ZEISS Frutiger Next W1G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14" name="Gerade Verbindung 71">
            <a:extLst>
              <a:ext uri="{FF2B5EF4-FFF2-40B4-BE49-F238E27FC236}">
                <a16:creationId xmlns:a16="http://schemas.microsoft.com/office/drawing/2014/main" id="{3E45FDC8-FB31-4EFC-A85C-0EDC909275BC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E81E40B-FF71-446B-8787-2BAEF4637756}"/>
              </a:ext>
            </a:extLst>
          </p:cNvPr>
          <p:cNvSpPr>
            <a:spLocks noGrp="1"/>
          </p:cNvSpPr>
          <p:nvPr>
            <p:ph type="dt" sz="half" idx="66"/>
          </p:nvPr>
        </p:nvSpPr>
        <p:spPr/>
        <p:txBody>
          <a:bodyPr/>
          <a:lstStyle/>
          <a:p>
            <a:fld id="{8A8CEE53-2C13-4F5F-B622-C12C798F824E}" type="datetime4">
              <a:rPr lang="de-DE" smtClean="0"/>
              <a:t>25. Juni 2025</a:t>
            </a:fld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DBA4F64-898B-4F49-A973-63491C3FBCB1}"/>
              </a:ext>
            </a:extLst>
          </p:cNvPr>
          <p:cNvSpPr>
            <a:spLocks noGrp="1"/>
          </p:cNvSpPr>
          <p:nvPr>
            <p:ph type="sldNum" sz="quarter" idx="68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7517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B5DF379B-2F7B-4B88-BC16-FA39CEB2C3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123362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BFF28EB-5BBB-48FC-BE84-2AF18E9A2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5"/>
            <a:ext cx="11160000" cy="44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9AF8200-DF6F-4A4E-B92D-A281BB9406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99274" y="6579170"/>
            <a:ext cx="1085233" cy="23083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1500">
                <a:solidFill>
                  <a:schemeClr val="tx1"/>
                </a:solidFill>
                <a:latin typeface="+mn-lt"/>
                <a:cs typeface="ZEISS Frutiger Next W1G Lt" panose="020B0302030202020203" pitchFamily="34" charset="0"/>
              </a:defRPr>
            </a:lvl1pPr>
          </a:lstStyle>
          <a:p>
            <a:fld id="{FC0C3420-A45B-4223-8056-BE47BA32B9EC}" type="datetime4">
              <a:rPr lang="de-DE" smtClean="0"/>
              <a:t>25. Jun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2475B2-8926-4797-977A-DAFF5A6E3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29204" y="6579170"/>
            <a:ext cx="387928" cy="23083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1500" b="1">
                <a:solidFill>
                  <a:schemeClr val="tx1"/>
                </a:solidFill>
                <a:latin typeface="+mn-lt"/>
                <a:cs typeface="ZEISS Frutiger Next W1G Lt" panose="020B0302030202020203" pitchFamily="34" charset="0"/>
              </a:defRPr>
            </a:lvl1pPr>
          </a:lstStyle>
          <a:p>
            <a:fld id="{C6A4AD45-2621-4550-9DC5-4911F1B5FA4D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741B6C63-D1F4-4D52-B460-24B79908B8A3}"/>
              </a:ext>
            </a:extLst>
          </p:cNvPr>
          <p:cNvGrpSpPr/>
          <p:nvPr/>
        </p:nvGrpSpPr>
        <p:grpSpPr>
          <a:xfrm>
            <a:off x="299275" y="-697714"/>
            <a:ext cx="11375605" cy="411956"/>
            <a:chOff x="299275" y="6944502"/>
            <a:chExt cx="11375605" cy="411956"/>
          </a:xfrm>
        </p:grpSpPr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08382494-4519-4B0A-9102-6CE52486E06E}"/>
                </a:ext>
              </a:extLst>
            </p:cNvPr>
            <p:cNvGrpSpPr/>
            <p:nvPr/>
          </p:nvGrpSpPr>
          <p:grpSpPr>
            <a:xfrm rot="16200000">
              <a:off x="2016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44" name="Gerader Verbinder 43">
                <a:extLst>
                  <a:ext uri="{FF2B5EF4-FFF2-40B4-BE49-F238E27FC236}">
                    <a16:creationId xmlns:a16="http://schemas.microsoft.com/office/drawing/2014/main" id="{DF92F63F-CC24-485D-9C52-63C5F1B2F5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314958B9-45FB-434B-A76E-E9105CDE5980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  <p:grpSp>
          <p:nvGrpSpPr>
            <p:cNvPr id="49" name="Gruppieren 48">
              <a:extLst>
                <a:ext uri="{FF2B5EF4-FFF2-40B4-BE49-F238E27FC236}">
                  <a16:creationId xmlns:a16="http://schemas.microsoft.com/office/drawing/2014/main" id="{55A2AA88-A3CC-4A9C-9D4F-6E13AD9F18B3}"/>
                </a:ext>
              </a:extLst>
            </p:cNvPr>
            <p:cNvGrpSpPr/>
            <p:nvPr/>
          </p:nvGrpSpPr>
          <p:grpSpPr>
            <a:xfrm rot="16200000">
              <a:off x="5637228" y="7042149"/>
              <a:ext cx="411956" cy="216662"/>
              <a:chOff x="-615197" y="4295013"/>
              <a:chExt cx="411956" cy="216662"/>
            </a:xfrm>
          </p:grpSpPr>
          <p:cxnSp>
            <p:nvCxnSpPr>
              <p:cNvPr id="50" name="Gerader Verbinder 49">
                <a:extLst>
                  <a:ext uri="{FF2B5EF4-FFF2-40B4-BE49-F238E27FC236}">
                    <a16:creationId xmlns:a16="http://schemas.microsoft.com/office/drawing/2014/main" id="{CD195ACE-FABB-4451-84B4-DCC9E983992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A7609EAF-FDCF-482B-ABAE-4F42E61E7183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7BEFA435-A973-4CEA-B2B5-45F218764925}"/>
                </a:ext>
              </a:extLst>
            </p:cNvPr>
            <p:cNvGrpSpPr/>
            <p:nvPr/>
          </p:nvGrpSpPr>
          <p:grpSpPr>
            <a:xfrm rot="5400000">
              <a:off x="6093326" y="7042149"/>
              <a:ext cx="411956" cy="216662"/>
              <a:chOff x="-615197" y="4346120"/>
              <a:chExt cx="411956" cy="216662"/>
            </a:xfrm>
          </p:grpSpPr>
          <p:cxnSp>
            <p:nvCxnSpPr>
              <p:cNvPr id="53" name="Gerader Verbinder 52">
                <a:extLst>
                  <a:ext uri="{FF2B5EF4-FFF2-40B4-BE49-F238E27FC236}">
                    <a16:creationId xmlns:a16="http://schemas.microsoft.com/office/drawing/2014/main" id="{B66456B7-D728-43D9-AF70-5D75514751F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Textfeld 53">
                <a:extLst>
                  <a:ext uri="{FF2B5EF4-FFF2-40B4-BE49-F238E27FC236}">
                    <a16:creationId xmlns:a16="http://schemas.microsoft.com/office/drawing/2014/main" id="{9B9AD2F7-1692-4BAE-96CE-9CBB8EB5334F}"/>
                  </a:ext>
                </a:extLst>
              </p:cNvPr>
              <p:cNvSpPr txBox="1"/>
              <p:nvPr/>
            </p:nvSpPr>
            <p:spPr>
              <a:xfrm rot="10800000">
                <a:off x="-615197" y="4346120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40</a:t>
                </a:r>
              </a:p>
            </p:txBody>
          </p:sp>
        </p:grp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1DF6E441-F63D-4D0D-B05B-73D855900C29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8" name="Gruppieren 57">
              <a:extLst>
                <a:ext uri="{FF2B5EF4-FFF2-40B4-BE49-F238E27FC236}">
                  <a16:creationId xmlns:a16="http://schemas.microsoft.com/office/drawing/2014/main" id="{71031521-32BA-4E76-AF98-5B3C8B219763}"/>
                </a:ext>
              </a:extLst>
            </p:cNvPr>
            <p:cNvGrpSpPr/>
            <p:nvPr/>
          </p:nvGrpSpPr>
          <p:grpSpPr>
            <a:xfrm rot="16200000">
              <a:off x="11360571" y="7042149"/>
              <a:ext cx="411956" cy="216662"/>
              <a:chOff x="-615197" y="4295013"/>
              <a:chExt cx="411956" cy="216662"/>
            </a:xfrm>
          </p:grpSpPr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65375763-B251-4415-B487-5BE6579DDBB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4CCC0796-D7FE-4730-85D3-380F795EC6C3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,50</a:t>
                </a:r>
              </a:p>
            </p:txBody>
          </p:sp>
        </p:grpSp>
      </p:grp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78DE8CA4-3189-4D81-A0B6-20AA7E700A17}"/>
              </a:ext>
            </a:extLst>
          </p:cNvPr>
          <p:cNvGrpSpPr/>
          <p:nvPr/>
        </p:nvGrpSpPr>
        <p:grpSpPr>
          <a:xfrm>
            <a:off x="-697714" y="80201"/>
            <a:ext cx="411956" cy="6729801"/>
            <a:chOff x="-502267" y="80201"/>
            <a:chExt cx="411956" cy="6729801"/>
          </a:xfrm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2B29B77A-3B1D-4CDD-BBC2-8A2957422FAA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16662"/>
              <a:chOff x="-615197" y="4452994"/>
              <a:chExt cx="411956" cy="216662"/>
            </a:xfrm>
          </p:grpSpPr>
          <p:sp>
            <p:nvSpPr>
              <p:cNvPr id="63" name="Textfeld 62">
                <a:extLst>
                  <a:ext uri="{FF2B5EF4-FFF2-40B4-BE49-F238E27FC236}">
                    <a16:creationId xmlns:a16="http://schemas.microsoft.com/office/drawing/2014/main" id="{0026B918-E1C7-4F8F-84C7-B47E4032A9A9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92</a:t>
                </a:r>
              </a:p>
            </p:txBody>
          </p:sp>
          <p:cxnSp>
            <p:nvCxnSpPr>
              <p:cNvPr id="62" name="Gerader Verbinder 61">
                <a:extLst>
                  <a:ext uri="{FF2B5EF4-FFF2-40B4-BE49-F238E27FC236}">
                    <a16:creationId xmlns:a16="http://schemas.microsoft.com/office/drawing/2014/main" id="{93D91228-E8A5-4F30-A7EC-EBF48343A3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F81C8663-719C-4C4D-B021-2AAC833DE83A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68" name="Gerader Verbinder 67">
                <a:extLst>
                  <a:ext uri="{FF2B5EF4-FFF2-40B4-BE49-F238E27FC236}">
                    <a16:creationId xmlns:a16="http://schemas.microsoft.com/office/drawing/2014/main" id="{CCC1DBBB-3ACE-470E-AE16-5F772149FB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F03CE7B8-9284-495A-A6CE-07BB9E1426C1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,40</a:t>
                </a:r>
              </a:p>
            </p:txBody>
          </p:sp>
        </p:grpSp>
        <p:grpSp>
          <p:nvGrpSpPr>
            <p:cNvPr id="70" name="Gruppieren 69">
              <a:extLst>
                <a:ext uri="{FF2B5EF4-FFF2-40B4-BE49-F238E27FC236}">
                  <a16:creationId xmlns:a16="http://schemas.microsoft.com/office/drawing/2014/main" id="{327D6F70-70F8-4901-BE2E-1DDBE99384F5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71" name="Gerader Verbinder 70">
                <a:extLst>
                  <a:ext uri="{FF2B5EF4-FFF2-40B4-BE49-F238E27FC236}">
                    <a16:creationId xmlns:a16="http://schemas.microsoft.com/office/drawing/2014/main" id="{15679958-F11D-4EBF-B132-E68802D95D3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2" name="Textfeld 71">
                <a:extLst>
                  <a:ext uri="{FF2B5EF4-FFF2-40B4-BE49-F238E27FC236}">
                    <a16:creationId xmlns:a16="http://schemas.microsoft.com/office/drawing/2014/main" id="{A3A699CD-C727-47D3-875C-A63BD470971B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,00</a:t>
                </a:r>
              </a:p>
            </p:txBody>
          </p:sp>
        </p:grpSp>
        <p:grpSp>
          <p:nvGrpSpPr>
            <p:cNvPr id="73" name="Gruppieren 72">
              <a:extLst>
                <a:ext uri="{FF2B5EF4-FFF2-40B4-BE49-F238E27FC236}">
                  <a16:creationId xmlns:a16="http://schemas.microsoft.com/office/drawing/2014/main" id="{5DA602B9-E93E-4B2C-A368-2968A507AF2F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74" name="Gerader Verbinder 73">
                <a:extLst>
                  <a:ext uri="{FF2B5EF4-FFF2-40B4-BE49-F238E27FC236}">
                    <a16:creationId xmlns:a16="http://schemas.microsoft.com/office/drawing/2014/main" id="{F40922C8-F57F-415F-A03D-BBAF9D6189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ECE34CB4-92D2-4644-B148-8E267D7B4CD5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,60</a:t>
                </a:r>
              </a:p>
            </p:txBody>
          </p:sp>
        </p:grpSp>
        <p:grpSp>
          <p:nvGrpSpPr>
            <p:cNvPr id="76" name="Gruppieren 75">
              <a:extLst>
                <a:ext uri="{FF2B5EF4-FFF2-40B4-BE49-F238E27FC236}">
                  <a16:creationId xmlns:a16="http://schemas.microsoft.com/office/drawing/2014/main" id="{8CE2FF66-3339-4802-9FD3-2E070A63550A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77" name="Gerader Verbinder 76">
                <a:extLst>
                  <a:ext uri="{FF2B5EF4-FFF2-40B4-BE49-F238E27FC236}">
                    <a16:creationId xmlns:a16="http://schemas.microsoft.com/office/drawing/2014/main" id="{1E35B613-A28D-45F8-BEEB-2D04A80763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8" name="Textfeld 77">
                <a:extLst>
                  <a:ext uri="{FF2B5EF4-FFF2-40B4-BE49-F238E27FC236}">
                    <a16:creationId xmlns:a16="http://schemas.microsoft.com/office/drawing/2014/main" id="{D8B60E64-0906-4601-91AB-C915F408DAD6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,00</a:t>
                </a:r>
              </a:p>
            </p:txBody>
          </p:sp>
        </p:grpSp>
        <p:grpSp>
          <p:nvGrpSpPr>
            <p:cNvPr id="79" name="Gruppieren 78">
              <a:extLst>
                <a:ext uri="{FF2B5EF4-FFF2-40B4-BE49-F238E27FC236}">
                  <a16:creationId xmlns:a16="http://schemas.microsoft.com/office/drawing/2014/main" id="{9D613ABC-2FE3-441A-A574-01A6E064D1E3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80" name="Gerader Verbinder 79">
                <a:extLst>
                  <a:ext uri="{FF2B5EF4-FFF2-40B4-BE49-F238E27FC236}">
                    <a16:creationId xmlns:a16="http://schemas.microsoft.com/office/drawing/2014/main" id="{83CEB50C-046E-498F-A8AA-AC59FC296B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139A9333-EFCD-45EF-92FE-AA1702343713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16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,70</a:t>
                </a:r>
              </a:p>
            </p:txBody>
          </p:sp>
        </p:grpSp>
      </p:grpSp>
      <p:cxnSp>
        <p:nvCxnSpPr>
          <p:cNvPr id="55" name="Gerade Verbindung 68">
            <a:extLst>
              <a:ext uri="{FF2B5EF4-FFF2-40B4-BE49-F238E27FC236}">
                <a16:creationId xmlns:a16="http://schemas.microsoft.com/office/drawing/2014/main" id="{FE38C3DB-4A17-4F65-BB51-220FF4168A2B}"/>
              </a:ext>
            </a:extLst>
          </p:cNvPr>
          <p:cNvCxnSpPr>
            <a:cxnSpLocks/>
          </p:cNvCxnSpPr>
          <p:nvPr userDrawn="1"/>
        </p:nvCxnSpPr>
        <p:spPr>
          <a:xfrm>
            <a:off x="0" y="6517553"/>
            <a:ext cx="12192000" cy="0"/>
          </a:xfrm>
          <a:prstGeom prst="line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9F0ABF88-D3F9-7514-74E6-D3F3838E9EBE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7067" y="188532"/>
            <a:ext cx="1241677" cy="51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167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703" r:id="rId4"/>
    <p:sldLayoutId id="2147483706" r:id="rId5"/>
    <p:sldLayoutId id="2147483702" r:id="rId6"/>
    <p:sldLayoutId id="2147483685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  <p:sldLayoutId id="2147483707" r:id="rId23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1"/>
          </a:solidFill>
          <a:latin typeface="ZEISS Frutiger Next W1G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ZEISS Frutiger Next W1G"/>
          <a:ea typeface="+mn-ea"/>
          <a:cs typeface="Arial" panose="020B060402020202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ZEISS Frutiger Next W1G"/>
          <a:ea typeface="+mn-ea"/>
          <a:cs typeface="Arial" panose="020B060402020202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ZEISS Frutiger Next W1G"/>
          <a:ea typeface="+mn-ea"/>
          <a:cs typeface="Arial" panose="020B0604020202020204" pitchFamily="34" charset="0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ZEISS Frutiger Next W1G"/>
          <a:ea typeface="+mn-ea"/>
          <a:cs typeface="Arial" panose="020B0604020202020204" pitchFamily="34" charset="0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ZEISS Frutiger Next W1G"/>
          <a:ea typeface="+mn-ea"/>
          <a:cs typeface="Arial" panose="020B0604020202020204" pitchFamily="34" charset="0"/>
        </a:defRPr>
      </a:lvl5pPr>
      <a:lvl6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ZEISS Frutiger Next W1G"/>
          <a:ea typeface="+mn-ea"/>
          <a:cs typeface="Arial" panose="020B0604020202020204" pitchFamily="34" charset="0"/>
        </a:defRPr>
      </a:lvl6pPr>
      <a:lvl7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ZEISS Frutiger Next W1G"/>
          <a:ea typeface="+mn-ea"/>
          <a:cs typeface="Arial" panose="020B0604020202020204" pitchFamily="34" charset="0"/>
        </a:defRPr>
      </a:lvl7pPr>
      <a:lvl8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ZEISS Frutiger Next W1G"/>
          <a:ea typeface="+mn-ea"/>
          <a:cs typeface="Arial" panose="020B0604020202020204" pitchFamily="34" charset="0"/>
        </a:defRPr>
      </a:lvl8pPr>
      <a:lvl9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ZEISS Frutiger Next W1G"/>
          <a:ea typeface="+mn-ea"/>
          <a:cs typeface="Arial" panose="020B0604020202020204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2160" userDrawn="1">
          <p15:clr>
            <a:srgbClr val="A4A3A4"/>
          </p15:clr>
        </p15:guide>
        <p15:guide id="14" pos="3840" userDrawn="1">
          <p15:clr>
            <a:srgbClr val="A4A3A4"/>
          </p15:clr>
        </p15:guide>
        <p15:guide id="15" pos="325" userDrawn="1">
          <p15:clr>
            <a:srgbClr val="A4A3A4"/>
          </p15:clr>
        </p15:guide>
        <p15:guide id="16" pos="7355" userDrawn="1">
          <p15:clr>
            <a:srgbClr val="A4A3A4"/>
          </p15:clr>
        </p15:guide>
        <p15:guide id="17" pos="3931" userDrawn="1">
          <p15:clr>
            <a:srgbClr val="A4A3A4"/>
          </p15:clr>
        </p15:guide>
        <p15:guide id="18" pos="3749" userDrawn="1">
          <p15:clr>
            <a:srgbClr val="A4A3A4"/>
          </p15:clr>
        </p15:guide>
        <p15:guide id="19" orient="horz" pos="187" userDrawn="1">
          <p15:clr>
            <a:srgbClr val="A4A3A4"/>
          </p15:clr>
        </p15:guide>
        <p15:guide id="20" orient="horz" pos="663" userDrawn="1">
          <p15:clr>
            <a:srgbClr val="A4A3A4"/>
          </p15:clr>
        </p15:guide>
        <p15:guide id="21" orient="horz" pos="1026" userDrawn="1">
          <p15:clr>
            <a:srgbClr val="A4A3A4"/>
          </p15:clr>
        </p15:guide>
        <p15:guide id="23" orient="horz" pos="4182" userDrawn="1">
          <p15:clr>
            <a:srgbClr val="A4A3A4"/>
          </p15:clr>
        </p15:guide>
        <p15:guide id="24" orient="horz" pos="3838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05371EF-857A-4846-8F90-CC9DD08CC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A5DDC2-D685-456A-A75C-32CAAD3C02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B42F241-652F-4096-89E6-B91CFAFA4B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54B89-BCE5-47A7-9308-67D3AB072B0F}" type="datetime4">
              <a:rPr lang="de-DE" smtClean="0"/>
              <a:t>25. Juni 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89863C5-5DA2-4975-88BD-874040C9F1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EA62F3-5D21-4685-A24A-15DDB9E6B3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851B7C-8F40-4CA7-88A3-3ED2BD8838B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5054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slide" Target="slide24.xml"/><Relationship Id="rId3" Type="http://schemas.openxmlformats.org/officeDocument/2006/relationships/tags" Target="../tags/tag46.xml"/><Relationship Id="rId21" Type="http://schemas.openxmlformats.org/officeDocument/2006/relationships/tags" Target="../tags/tag64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slide" Target="slide28.xml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tags" Target="../tags/tag63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slide" Target="slide31.xml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slide" Target="slide36.xml"/><Relationship Id="rId28" Type="http://schemas.openxmlformats.org/officeDocument/2006/relationships/slide" Target="slide3.xml"/><Relationship Id="rId10" Type="http://schemas.openxmlformats.org/officeDocument/2006/relationships/tags" Target="../tags/tag53.xml"/><Relationship Id="rId19" Type="http://schemas.openxmlformats.org/officeDocument/2006/relationships/tags" Target="../tags/tag62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slideLayout" Target="../slideLayouts/slideLayout5.xml"/><Relationship Id="rId27" Type="http://schemas.openxmlformats.org/officeDocument/2006/relationships/slide" Target="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microsoft.com/office/2017/06/relationships/model3d" Target="../media/model3d4.glb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3.png"/><Relationship Id="rId4" Type="http://schemas.microsoft.com/office/2017/06/relationships/model3d" Target="../media/model3d5.glb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microsoft.com/office/2017/06/relationships/model3d" Target="../media/model3d6.glb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microsoft.com/office/2017/06/relationships/model3d" Target="../media/model3d6.glb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slide" Target="slide28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slide" Target="slide31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slide" Target="slide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slide" Target="slide36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notesSlide" Target="../notesSlides/notesSlide2.xml"/><Relationship Id="rId28" Type="http://schemas.openxmlformats.org/officeDocument/2006/relationships/slide" Target="slide10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slideLayout" Target="../slideLayouts/slideLayout5.xml"/><Relationship Id="rId27" Type="http://schemas.openxmlformats.org/officeDocument/2006/relationships/slide" Target="slide2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tags" Target="../tags/tag82.xml"/><Relationship Id="rId26" Type="http://schemas.openxmlformats.org/officeDocument/2006/relationships/slide" Target="slide24.xml"/><Relationship Id="rId3" Type="http://schemas.openxmlformats.org/officeDocument/2006/relationships/tags" Target="../tags/tag67.xml"/><Relationship Id="rId21" Type="http://schemas.openxmlformats.org/officeDocument/2006/relationships/tags" Target="../tags/tag85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tags" Target="../tags/tag81.xml"/><Relationship Id="rId25" Type="http://schemas.openxmlformats.org/officeDocument/2006/relationships/slide" Target="slide28.xml"/><Relationship Id="rId2" Type="http://schemas.openxmlformats.org/officeDocument/2006/relationships/tags" Target="../tags/tag66.xml"/><Relationship Id="rId16" Type="http://schemas.openxmlformats.org/officeDocument/2006/relationships/tags" Target="../tags/tag80.xml"/><Relationship Id="rId20" Type="http://schemas.openxmlformats.org/officeDocument/2006/relationships/tags" Target="../tags/tag84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24" Type="http://schemas.openxmlformats.org/officeDocument/2006/relationships/slide" Target="slide31.xml"/><Relationship Id="rId5" Type="http://schemas.openxmlformats.org/officeDocument/2006/relationships/tags" Target="../tags/tag69.xml"/><Relationship Id="rId15" Type="http://schemas.openxmlformats.org/officeDocument/2006/relationships/tags" Target="../tags/tag79.xml"/><Relationship Id="rId23" Type="http://schemas.openxmlformats.org/officeDocument/2006/relationships/slide" Target="slide36.xml"/><Relationship Id="rId28" Type="http://schemas.openxmlformats.org/officeDocument/2006/relationships/slide" Target="slide3.xml"/><Relationship Id="rId10" Type="http://schemas.openxmlformats.org/officeDocument/2006/relationships/tags" Target="../tags/tag74.xml"/><Relationship Id="rId19" Type="http://schemas.openxmlformats.org/officeDocument/2006/relationships/tags" Target="../tags/tag83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tags" Target="../tags/tag78.xml"/><Relationship Id="rId22" Type="http://schemas.openxmlformats.org/officeDocument/2006/relationships/slideLayout" Target="../slideLayouts/slideLayout5.xml"/><Relationship Id="rId27" Type="http://schemas.openxmlformats.org/officeDocument/2006/relationships/slide" Target="slide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tags" Target="../tags/tag103.xml"/><Relationship Id="rId26" Type="http://schemas.openxmlformats.org/officeDocument/2006/relationships/slide" Target="slide24.xml"/><Relationship Id="rId3" Type="http://schemas.openxmlformats.org/officeDocument/2006/relationships/tags" Target="../tags/tag88.xml"/><Relationship Id="rId21" Type="http://schemas.openxmlformats.org/officeDocument/2006/relationships/tags" Target="../tags/tag106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tags" Target="../tags/tag102.xml"/><Relationship Id="rId25" Type="http://schemas.openxmlformats.org/officeDocument/2006/relationships/slide" Target="slide28.xml"/><Relationship Id="rId2" Type="http://schemas.openxmlformats.org/officeDocument/2006/relationships/tags" Target="../tags/tag87.xml"/><Relationship Id="rId16" Type="http://schemas.openxmlformats.org/officeDocument/2006/relationships/tags" Target="../tags/tag101.xml"/><Relationship Id="rId20" Type="http://schemas.openxmlformats.org/officeDocument/2006/relationships/tags" Target="../tags/tag105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24" Type="http://schemas.openxmlformats.org/officeDocument/2006/relationships/slide" Target="slide31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23" Type="http://schemas.openxmlformats.org/officeDocument/2006/relationships/slide" Target="slide36.xml"/><Relationship Id="rId28" Type="http://schemas.openxmlformats.org/officeDocument/2006/relationships/slide" Target="slide3.xml"/><Relationship Id="rId10" Type="http://schemas.openxmlformats.org/officeDocument/2006/relationships/tags" Target="../tags/tag95.xml"/><Relationship Id="rId19" Type="http://schemas.openxmlformats.org/officeDocument/2006/relationships/tags" Target="../tags/tag104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Relationship Id="rId22" Type="http://schemas.openxmlformats.org/officeDocument/2006/relationships/slideLayout" Target="../slideLayouts/slideLayout5.xml"/><Relationship Id="rId27" Type="http://schemas.openxmlformats.org/officeDocument/2006/relationships/slide" Target="slide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slide" Target="slide24.xml"/><Relationship Id="rId3" Type="http://schemas.openxmlformats.org/officeDocument/2006/relationships/tags" Target="../tags/tag25.xml"/><Relationship Id="rId21" Type="http://schemas.openxmlformats.org/officeDocument/2006/relationships/tags" Target="../tags/tag43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slide" Target="slide28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slide" Target="slide31.xml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slide" Target="slide36.xml"/><Relationship Id="rId28" Type="http://schemas.openxmlformats.org/officeDocument/2006/relationships/slide" Target="slide3.xml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slideLayout" Target="../slideLayouts/slideLayout5.xml"/><Relationship Id="rId27" Type="http://schemas.openxmlformats.org/officeDocument/2006/relationships/slide" Target="slide1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13" Type="http://schemas.openxmlformats.org/officeDocument/2006/relationships/tags" Target="../tags/tag119.xml"/><Relationship Id="rId18" Type="http://schemas.openxmlformats.org/officeDocument/2006/relationships/tags" Target="../tags/tag124.xml"/><Relationship Id="rId26" Type="http://schemas.openxmlformats.org/officeDocument/2006/relationships/slide" Target="slide24.xml"/><Relationship Id="rId3" Type="http://schemas.openxmlformats.org/officeDocument/2006/relationships/tags" Target="../tags/tag109.xml"/><Relationship Id="rId21" Type="http://schemas.openxmlformats.org/officeDocument/2006/relationships/tags" Target="../tags/tag127.xml"/><Relationship Id="rId7" Type="http://schemas.openxmlformats.org/officeDocument/2006/relationships/tags" Target="../tags/tag113.xml"/><Relationship Id="rId12" Type="http://schemas.openxmlformats.org/officeDocument/2006/relationships/tags" Target="../tags/tag118.xml"/><Relationship Id="rId17" Type="http://schemas.openxmlformats.org/officeDocument/2006/relationships/tags" Target="../tags/tag123.xml"/><Relationship Id="rId25" Type="http://schemas.openxmlformats.org/officeDocument/2006/relationships/slide" Target="slide28.xml"/><Relationship Id="rId2" Type="http://schemas.openxmlformats.org/officeDocument/2006/relationships/tags" Target="../tags/tag108.xml"/><Relationship Id="rId16" Type="http://schemas.openxmlformats.org/officeDocument/2006/relationships/tags" Target="../tags/tag122.xml"/><Relationship Id="rId20" Type="http://schemas.openxmlformats.org/officeDocument/2006/relationships/tags" Target="../tags/tag126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11" Type="http://schemas.openxmlformats.org/officeDocument/2006/relationships/tags" Target="../tags/tag117.xml"/><Relationship Id="rId24" Type="http://schemas.openxmlformats.org/officeDocument/2006/relationships/slide" Target="slide31.xml"/><Relationship Id="rId5" Type="http://schemas.openxmlformats.org/officeDocument/2006/relationships/tags" Target="../tags/tag111.xml"/><Relationship Id="rId15" Type="http://schemas.openxmlformats.org/officeDocument/2006/relationships/tags" Target="../tags/tag121.xml"/><Relationship Id="rId23" Type="http://schemas.openxmlformats.org/officeDocument/2006/relationships/slide" Target="slide36.xml"/><Relationship Id="rId28" Type="http://schemas.openxmlformats.org/officeDocument/2006/relationships/slide" Target="slide3.xml"/><Relationship Id="rId10" Type="http://schemas.openxmlformats.org/officeDocument/2006/relationships/tags" Target="../tags/tag116.xml"/><Relationship Id="rId19" Type="http://schemas.openxmlformats.org/officeDocument/2006/relationships/tags" Target="../tags/tag125.xml"/><Relationship Id="rId4" Type="http://schemas.openxmlformats.org/officeDocument/2006/relationships/tags" Target="../tags/tag110.xml"/><Relationship Id="rId9" Type="http://schemas.openxmlformats.org/officeDocument/2006/relationships/tags" Target="../tags/tag115.xml"/><Relationship Id="rId14" Type="http://schemas.openxmlformats.org/officeDocument/2006/relationships/tags" Target="../tags/tag120.xml"/><Relationship Id="rId22" Type="http://schemas.openxmlformats.org/officeDocument/2006/relationships/slideLayout" Target="../slideLayouts/slideLayout5.xml"/><Relationship Id="rId27" Type="http://schemas.openxmlformats.org/officeDocument/2006/relationships/slide" Target="slide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18" Type="http://schemas.openxmlformats.org/officeDocument/2006/relationships/tags" Target="../tags/tag145.xml"/><Relationship Id="rId26" Type="http://schemas.openxmlformats.org/officeDocument/2006/relationships/slide" Target="slide10.xml"/><Relationship Id="rId3" Type="http://schemas.openxmlformats.org/officeDocument/2006/relationships/tags" Target="../tags/tag130.xml"/><Relationship Id="rId21" Type="http://schemas.openxmlformats.org/officeDocument/2006/relationships/slideLayout" Target="../slideLayouts/slideLayout5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25" Type="http://schemas.openxmlformats.org/officeDocument/2006/relationships/slide" Target="slide24.xml"/><Relationship Id="rId2" Type="http://schemas.openxmlformats.org/officeDocument/2006/relationships/tags" Target="../tags/tag129.xml"/><Relationship Id="rId16" Type="http://schemas.openxmlformats.org/officeDocument/2006/relationships/tags" Target="../tags/tag143.xml"/><Relationship Id="rId20" Type="http://schemas.openxmlformats.org/officeDocument/2006/relationships/tags" Target="../tags/tag147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24" Type="http://schemas.openxmlformats.org/officeDocument/2006/relationships/slide" Target="slide28.xml"/><Relationship Id="rId5" Type="http://schemas.openxmlformats.org/officeDocument/2006/relationships/tags" Target="../tags/tag132.xml"/><Relationship Id="rId15" Type="http://schemas.openxmlformats.org/officeDocument/2006/relationships/tags" Target="../tags/tag142.xml"/><Relationship Id="rId23" Type="http://schemas.openxmlformats.org/officeDocument/2006/relationships/slide" Target="slide31.xml"/><Relationship Id="rId10" Type="http://schemas.openxmlformats.org/officeDocument/2006/relationships/tags" Target="../tags/tag137.xml"/><Relationship Id="rId19" Type="http://schemas.openxmlformats.org/officeDocument/2006/relationships/tags" Target="../tags/tag146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tags" Target="../tags/tag141.xml"/><Relationship Id="rId22" Type="http://schemas.openxmlformats.org/officeDocument/2006/relationships/slide" Target="slide36.xml"/><Relationship Id="rId27" Type="http://schemas.openxmlformats.org/officeDocument/2006/relationships/slide" Target="slide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microsoft.com/office/2017/06/relationships/model3d" Target="../media/model3d7.glb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hyperlink" Target="https://www.verivox.de/geldanlage/themen/kartell/#:~:text=Ein%20Kartell%20ist%20ein%20Zusammenschluss,Grund%20sind%20Kartelle%20grunds%C3%A4tzlich%20verboten" TargetMode="Externa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hyperlink" Target="https://studyflix.de/wirtschaft/prinzip-des-kartells-296" TargetMode="External"/><Relationship Id="rId5" Type="http://schemas.openxmlformats.org/officeDocument/2006/relationships/hyperlink" Target="https://studyflix.de/wirtschaft/joint-venture-6566" TargetMode="External"/><Relationship Id="rId4" Type="http://schemas.openxmlformats.org/officeDocument/2006/relationships/hyperlink" Target="https://eur-lex.europa.eu/LexUriServ/LexUriServ.do?uri=CELEX:32003R0001:DE:HTML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hyperlink" Target="https://de.m.wikipedia.org/wiki/Datei:RWE_Logo_2020.svg" TargetMode="External"/><Relationship Id="rId3" Type="http://schemas.openxmlformats.org/officeDocument/2006/relationships/slideLayout" Target="../slideLayouts/slideLayout8.xml"/><Relationship Id="rId7" Type="http://schemas.openxmlformats.org/officeDocument/2006/relationships/hyperlink" Target="https://de.wikipedia.org/wiki/Martin_Winterkorn" TargetMode="External"/><Relationship Id="rId12" Type="http://schemas.openxmlformats.org/officeDocument/2006/relationships/hyperlink" Target="https://de.toonpool.com/cartoons/Auto-Kartell%20und%20EU_321715" TargetMode="Externa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hyperlink" Target="https://www.faz.net/aktuell/finanzen/allianz-chef-oliver-baete-ueber-altersvorsorge-und-klimawandel-16495036.html" TargetMode="External"/><Relationship Id="rId11" Type="http://schemas.openxmlformats.org/officeDocument/2006/relationships/hyperlink" Target="https://www.sueddeutsche.de/wirtschaft/eon-hauptversammlung-leonhard-birnbaum-1.5298668" TargetMode="External"/><Relationship Id="rId5" Type="http://schemas.openxmlformats.org/officeDocument/2006/relationships/hyperlink" Target="https://de.m.wikipedia.org/wiki/Datei:Volkswagen_logo_2019.svg" TargetMode="External"/><Relationship Id="rId10" Type="http://schemas.openxmlformats.org/officeDocument/2006/relationships/hyperlink" Target="https://www.rwe.com/investor-relations/finanzkalender-und-veroeffentlichungen/2021-H1/" TargetMode="External"/><Relationship Id="rId4" Type="http://schemas.openxmlformats.org/officeDocument/2006/relationships/hyperlink" Target="https://de.wikipedia.org/wiki/Datei:Allianz.png" TargetMode="External"/><Relationship Id="rId9" Type="http://schemas.openxmlformats.org/officeDocument/2006/relationships/hyperlink" Target="https://de.wikipedia.org/wiki/Datei:EON_Logo.svg" TargetMode="Externa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17/06/relationships/model3d" Target="../media/model3d1.glb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microsoft.com/office/2017/06/relationships/model3d" Target="../media/model3d2.glb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microsoft.com/office/2017/06/relationships/model3d" Target="../media/model3d3.glb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microsoft.com/office/2017/06/relationships/model3d" Target="../media/model3d3.glb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B76F7A03-9347-2F18-DF3F-D4766F150E4C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>
            <a:extLst>
              <a:ext uri="{FF2B5EF4-FFF2-40B4-BE49-F238E27FC236}">
                <a16:creationId xmlns:a16="http://schemas.microsoft.com/office/drawing/2014/main" id="{3D5704D4-182D-2081-A931-337F4856B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658" y="2213089"/>
            <a:ext cx="6639405" cy="727932"/>
          </a:xfrm>
        </p:spPr>
        <p:txBody>
          <a:bodyPr/>
          <a:lstStyle/>
          <a:p>
            <a:r>
              <a:rPr lang="de-DE">
                <a:latin typeface="+mn-lt"/>
                <a:cs typeface="Arial"/>
              </a:rPr>
              <a:t>Zwischenpräsentation</a:t>
            </a:r>
            <a:endParaRPr lang="de-DE">
              <a:latin typeface="+mn-lt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199AC7C-AE3C-424B-AE6F-C75CC60F5A2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5390" y="2943032"/>
            <a:ext cx="4943688" cy="738664"/>
          </a:xfrm>
        </p:spPr>
        <p:txBody>
          <a:bodyPr/>
          <a:lstStyle/>
          <a:p>
            <a:r>
              <a:rPr lang="de-DE" sz="3000">
                <a:cs typeface="Arial"/>
              </a:rPr>
              <a:t>Projektgruppe 4 </a:t>
            </a:r>
            <a:r>
              <a:rPr lang="de-DE" sz="3000">
                <a:solidFill>
                  <a:srgbClr val="000000"/>
                </a:solidFill>
                <a:cs typeface="Arial"/>
              </a:rPr>
              <a:t>-</a:t>
            </a:r>
            <a:r>
              <a:rPr lang="de-DE" sz="3000">
                <a:cs typeface="Arial"/>
              </a:rPr>
              <a:t> DailyM8</a:t>
            </a:r>
            <a:endParaRPr lang="de-DE" sz="300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0024835-3B3D-40D8-8601-9961D5A4F2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8319" y="5202460"/>
            <a:ext cx="4319999" cy="1682512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de-DE">
                <a:cs typeface="Arial"/>
              </a:rPr>
              <a:t>5508863 –</a:t>
            </a:r>
            <a:r>
              <a:rPr lang="ja-JP" altLang="de-DE">
                <a:cs typeface="Arial"/>
              </a:rPr>
              <a:t> </a:t>
            </a:r>
            <a:r>
              <a:rPr lang="de-DE" altLang="ja-JP">
                <a:cs typeface="Arial"/>
              </a:rPr>
              <a:t>Marvin</a:t>
            </a:r>
            <a:r>
              <a:rPr lang="ja-JP" altLang="de-DE">
                <a:cs typeface="Arial"/>
              </a:rPr>
              <a:t> </a:t>
            </a:r>
            <a:r>
              <a:rPr lang="de-DE" altLang="ja-JP">
                <a:cs typeface="Arial"/>
              </a:rPr>
              <a:t>Bullinger</a:t>
            </a:r>
            <a:br>
              <a:rPr lang="de-DE" altLang="ja-JP"/>
            </a:br>
            <a:r>
              <a:rPr lang="de-DE">
                <a:cs typeface="Arial"/>
              </a:rPr>
              <a:t>7332456 </a:t>
            </a:r>
            <a:r>
              <a:rPr lang="de-DE" altLang="ja-JP">
                <a:cs typeface="Arial"/>
              </a:rPr>
              <a:t>–</a:t>
            </a:r>
            <a:r>
              <a:rPr lang="ja-JP" altLang="de-DE">
                <a:cs typeface="Arial"/>
              </a:rPr>
              <a:t> </a:t>
            </a:r>
            <a:r>
              <a:rPr lang="de-DE" altLang="ja-JP">
                <a:cs typeface="Arial"/>
              </a:rPr>
              <a:t>Christian</a:t>
            </a:r>
            <a:r>
              <a:rPr lang="ja-JP" altLang="de-DE">
                <a:cs typeface="Arial"/>
              </a:rPr>
              <a:t> </a:t>
            </a:r>
            <a:r>
              <a:rPr lang="de-DE" altLang="ja-JP" err="1">
                <a:cs typeface="Arial"/>
              </a:rPr>
              <a:t>Reile</a:t>
            </a:r>
            <a:br>
              <a:rPr lang="de-DE" altLang="ja-JP"/>
            </a:br>
            <a:r>
              <a:rPr lang="de-DE">
                <a:cs typeface="Arial"/>
              </a:rPr>
              <a:t>8077366 </a:t>
            </a:r>
            <a:r>
              <a:rPr lang="de-DE" altLang="ja-JP">
                <a:cs typeface="Arial"/>
              </a:rPr>
              <a:t>–</a:t>
            </a:r>
            <a:r>
              <a:rPr lang="ja-JP" altLang="de-DE">
                <a:cs typeface="Arial"/>
              </a:rPr>
              <a:t> </a:t>
            </a:r>
            <a:r>
              <a:rPr lang="de-DE" altLang="ja-JP">
                <a:cs typeface="Arial"/>
              </a:rPr>
              <a:t>Annika Häberle</a:t>
            </a:r>
          </a:p>
          <a:p>
            <a:r>
              <a:rPr lang="de-DE">
                <a:cs typeface="Arial"/>
              </a:rPr>
              <a:t>2912216 –</a:t>
            </a:r>
            <a:r>
              <a:rPr lang="ja-JP" altLang="de-DE">
                <a:cs typeface="Arial"/>
              </a:rPr>
              <a:t> </a:t>
            </a:r>
            <a:r>
              <a:rPr lang="de-DE" altLang="ja-JP">
                <a:cs typeface="Arial"/>
              </a:rPr>
              <a:t>Hannes Maurer</a:t>
            </a:r>
            <a:br>
              <a:rPr lang="de-DE" altLang="ja-JP"/>
            </a:br>
            <a:r>
              <a:rPr lang="de-DE" altLang="ja-JP">
                <a:cs typeface="Arial"/>
              </a:rPr>
              <a:t>4604530</a:t>
            </a:r>
            <a:r>
              <a:rPr lang="de-DE">
                <a:cs typeface="Arial"/>
              </a:rPr>
              <a:t> </a:t>
            </a:r>
            <a:r>
              <a:rPr lang="de-DE" altLang="ja-JP">
                <a:cs typeface="Arial"/>
              </a:rPr>
              <a:t>–</a:t>
            </a:r>
            <a:r>
              <a:rPr lang="ja-JP" altLang="de-DE">
                <a:cs typeface="Arial"/>
              </a:rPr>
              <a:t> </a:t>
            </a:r>
            <a:r>
              <a:rPr lang="de-DE" altLang="ja-JP">
                <a:cs typeface="Arial"/>
              </a:rPr>
              <a:t>Frida Stähle</a:t>
            </a:r>
            <a:br>
              <a:rPr lang="de-DE" altLang="ja-JP"/>
            </a:br>
            <a:r>
              <a:rPr lang="de-DE">
                <a:cs typeface="Arial"/>
              </a:rPr>
              <a:t>6041193 </a:t>
            </a:r>
            <a:r>
              <a:rPr lang="de-DE" altLang="ja-JP">
                <a:cs typeface="Arial"/>
              </a:rPr>
              <a:t>–</a:t>
            </a:r>
            <a:r>
              <a:rPr lang="ja-JP" altLang="de-DE">
                <a:cs typeface="Arial"/>
              </a:rPr>
              <a:t> </a:t>
            </a:r>
            <a:r>
              <a:rPr lang="de-DE" altLang="ja-JP">
                <a:cs typeface="Arial"/>
              </a:rPr>
              <a:t>Franz</a:t>
            </a:r>
            <a:r>
              <a:rPr lang="ja-JP" altLang="de-DE">
                <a:cs typeface="Arial"/>
              </a:rPr>
              <a:t> </a:t>
            </a:r>
            <a:r>
              <a:rPr lang="de-DE" altLang="ja-JP">
                <a:cs typeface="Arial"/>
              </a:rPr>
              <a:t>Seibold</a:t>
            </a:r>
          </a:p>
          <a:p>
            <a:endParaRPr lang="de-DE" altLang="ja-JP"/>
          </a:p>
          <a:p>
            <a:endParaRPr lang="de-DE"/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71A80152-38E1-4798-9C7D-054735142F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9" y="4963183"/>
            <a:ext cx="4319999" cy="184666"/>
          </a:xfrm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ZEISS Frutiger Next W1G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Ersteller</a:t>
            </a:r>
          </a:p>
        </p:txBody>
      </p:sp>
      <p:sp>
        <p:nvSpPr>
          <p:cNvPr id="20" name="Datumsplatzhalter 1">
            <a:extLst>
              <a:ext uri="{FF2B5EF4-FFF2-40B4-BE49-F238E27FC236}">
                <a16:creationId xmlns:a16="http://schemas.microsoft.com/office/drawing/2014/main" id="{09A31829-66B8-445E-8739-442FC5AD4B4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518319" y="6476634"/>
            <a:ext cx="899285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de-DE" sz="1200" b="1" smtClean="0">
                <a:latin typeface="ZEISS Frutiger Next W1G"/>
                <a:cs typeface="Arial" panose="020B0604020202020204" pitchFamily="34" charset="0"/>
              </a:defRPr>
            </a:lvl1pPr>
          </a:lstStyle>
          <a:p>
            <a:pPr>
              <a:spcAft>
                <a:spcPts val="800"/>
              </a:spcAft>
              <a:buFont typeface="Arial" panose="020B0604020202020204" pitchFamily="34" charset="0"/>
              <a:buNone/>
            </a:pPr>
            <a:fld id="{7AB30B11-C5E5-4B58-8B44-A7D386B62184}" type="datetime4">
              <a:rPr lang="de-DE" b="0" smtClean="0"/>
              <a:t>25. Juni 2025</a:t>
            </a:fld>
            <a:endParaRPr lang="de-DE" b="0"/>
          </a:p>
        </p:txBody>
      </p:sp>
      <p:pic>
        <p:nvPicPr>
          <p:cNvPr id="4" name="Grafik 3" descr="Ein Bild, das Entwurf, Design enthält.&#10;&#10;KI-generierte Inhalte können fehlerhaft sein.">
            <a:extLst>
              <a:ext uri="{FF2B5EF4-FFF2-40B4-BE49-F238E27FC236}">
                <a16:creationId xmlns:a16="http://schemas.microsoft.com/office/drawing/2014/main" id="{098160E6-8D61-094D-9A9C-2A9B894C7D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5538" y="2136229"/>
            <a:ext cx="4475145" cy="3977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4393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192D8D31-975A-E2EE-17AC-971F3F6551DD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18319" y="5240401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3B28F2DC-1903-9A2A-0CC9-60EEED4DE78B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518319" y="5965849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hlinkClick r:id="rId23" action="ppaction://hlinksldjump"/>
            <a:extLst>
              <a:ext uri="{FF2B5EF4-FFF2-40B4-BE49-F238E27FC236}">
                <a16:creationId xmlns:a16="http://schemas.microsoft.com/office/drawing/2014/main" id="{FDBD6774-53C2-3FF2-B34A-1560356A34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87032" y="5326126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Diskussion</a:t>
            </a:r>
          </a:p>
        </p:txBody>
      </p:sp>
      <p:sp>
        <p:nvSpPr>
          <p:cNvPr id="57" name="Rechteck 56">
            <a:hlinkClick r:id="rId23" action="ppaction://hlinksldjump"/>
            <a:extLst>
              <a:ext uri="{FF2B5EF4-FFF2-40B4-BE49-F238E27FC236}">
                <a16:creationId xmlns:a16="http://schemas.microsoft.com/office/drawing/2014/main" id="{185818D3-1CAA-3B41-E2FB-39BEED06273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8319" y="5326126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F15CB640-3A1E-08DF-2FA7-1747F4D6B72F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18319" y="4514953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>
            <a:hlinkClick r:id="rId24" action="ppaction://hlinksldjump"/>
            <a:extLst>
              <a:ext uri="{FF2B5EF4-FFF2-40B4-BE49-F238E27FC236}">
                <a16:creationId xmlns:a16="http://schemas.microsoft.com/office/drawing/2014/main" id="{6BB3C6B6-B1E9-9039-0A04-0AE6960962A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87032" y="4600678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>
                <a:solidFill>
                  <a:schemeClr val="tx1"/>
                </a:solidFill>
              </a:rPr>
              <a:t>Projektmanagement</a:t>
            </a:r>
            <a:endParaRPr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54" name="Rechteck 53">
            <a:hlinkClick r:id="rId24" action="ppaction://hlinksldjump"/>
            <a:extLst>
              <a:ext uri="{FF2B5EF4-FFF2-40B4-BE49-F238E27FC236}">
                <a16:creationId xmlns:a16="http://schemas.microsoft.com/office/drawing/2014/main" id="{46D9A992-8529-B8D2-271A-DA67D2BD500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8319" y="4600678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5</a:t>
            </a:r>
          </a:p>
        </p:txBody>
      </p: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9C135579-E8D4-29DB-6F26-FC9B6EA961BE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18319" y="3789506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hlinkClick r:id="rId25" action="ppaction://hlinksldjump"/>
            <a:extLst>
              <a:ext uri="{FF2B5EF4-FFF2-40B4-BE49-F238E27FC236}">
                <a16:creationId xmlns:a16="http://schemas.microsoft.com/office/drawing/2014/main" id="{7C3F264C-3241-D8B4-D635-B6ECAA8D517F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287032" y="3875231"/>
            <a:ext cx="3337452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Steuerung und Elektrische Struktur</a:t>
            </a:r>
          </a:p>
        </p:txBody>
      </p:sp>
      <p:sp>
        <p:nvSpPr>
          <p:cNvPr id="51" name="Rechteck 50">
            <a:hlinkClick r:id="rId25" action="ppaction://hlinksldjump"/>
            <a:extLst>
              <a:ext uri="{FF2B5EF4-FFF2-40B4-BE49-F238E27FC236}">
                <a16:creationId xmlns:a16="http://schemas.microsoft.com/office/drawing/2014/main" id="{141C6770-5657-B59C-6E66-B99E79BD002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8319" y="3875231"/>
            <a:ext cx="583200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50DF5DD9-4989-588F-039E-1211C4EB39EB}"/>
              </a:ext>
            </a:extLst>
          </p:cNvPr>
          <p:cNvCxnSpPr/>
          <p:nvPr>
            <p:custDataLst>
              <p:tags r:id="rId12"/>
            </p:custDataLst>
          </p:nvPr>
        </p:nvCxnSpPr>
        <p:spPr>
          <a:xfrm>
            <a:off x="518319" y="3064058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>
            <a:hlinkClick r:id="rId26" action="ppaction://hlinksldjump"/>
            <a:extLst>
              <a:ext uri="{FF2B5EF4-FFF2-40B4-BE49-F238E27FC236}">
                <a16:creationId xmlns:a16="http://schemas.microsoft.com/office/drawing/2014/main" id="{01102D70-B6CC-6EF0-1179-7F5B6C24ECA6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287032" y="3149783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Risiko der Montageeinrichtung</a:t>
            </a:r>
          </a:p>
        </p:txBody>
      </p:sp>
      <p:sp>
        <p:nvSpPr>
          <p:cNvPr id="48" name="Rechteck 47">
            <a:hlinkClick r:id="rId26" action="ppaction://hlinksldjump"/>
            <a:extLst>
              <a:ext uri="{FF2B5EF4-FFF2-40B4-BE49-F238E27FC236}">
                <a16:creationId xmlns:a16="http://schemas.microsoft.com/office/drawing/2014/main" id="{F641A686-5B77-A7BC-5075-D6ADF2D70C7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8319" y="3149783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79D50967-C50C-5D31-519C-3CCBC800637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0" y="2338610"/>
            <a:ext cx="12192000" cy="741323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Rechteck 45">
            <a:hlinkClick r:id="rId27" action="ppaction://hlinksldjump"/>
            <a:extLst>
              <a:ext uri="{FF2B5EF4-FFF2-40B4-BE49-F238E27FC236}">
                <a16:creationId xmlns:a16="http://schemas.microsoft.com/office/drawing/2014/main" id="{7BF7A87B-6EF1-DE18-C1B4-8A1CB8709A97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87032" y="2424335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Montagekonzept</a:t>
            </a:r>
          </a:p>
        </p:txBody>
      </p:sp>
      <p:sp>
        <p:nvSpPr>
          <p:cNvPr id="45" name="Rechteck 44">
            <a:hlinkClick r:id="rId27" action="ppaction://hlinksldjump"/>
            <a:extLst>
              <a:ext uri="{FF2B5EF4-FFF2-40B4-BE49-F238E27FC236}">
                <a16:creationId xmlns:a16="http://schemas.microsoft.com/office/drawing/2014/main" id="{B836EDAD-8BBE-35A6-4466-7B14B590D1F5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8319" y="2424335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</a:p>
        </p:txBody>
      </p: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DB6EB9EC-6F11-36DB-71B5-26665B69F013}"/>
              </a:ext>
            </a:extLst>
          </p:cNvPr>
          <p:cNvCxnSpPr/>
          <p:nvPr>
            <p:custDataLst>
              <p:tags r:id="rId18"/>
            </p:custDataLst>
          </p:nvPr>
        </p:nvCxnSpPr>
        <p:spPr>
          <a:xfrm>
            <a:off x="518319" y="1613162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hlinkClick r:id="rId28" action="ppaction://hlinksldjump"/>
            <a:extLst>
              <a:ext uri="{FF2B5EF4-FFF2-40B4-BE49-F238E27FC236}">
                <a16:creationId xmlns:a16="http://schemas.microsoft.com/office/drawing/2014/main" id="{6352715C-8EE9-DE1A-6CB5-32A5344FC1B7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287032" y="1698887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Werbegeschenk</a:t>
            </a:r>
          </a:p>
        </p:txBody>
      </p:sp>
      <p:sp>
        <p:nvSpPr>
          <p:cNvPr id="42" name="Rechteck 41">
            <a:hlinkClick r:id="rId28" action="ppaction://hlinksldjump"/>
            <a:extLst>
              <a:ext uri="{FF2B5EF4-FFF2-40B4-BE49-F238E27FC236}">
                <a16:creationId xmlns:a16="http://schemas.microsoft.com/office/drawing/2014/main" id="{99AAF828-C7F2-41B9-545F-D0516848A9E2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8319" y="1698887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C7129C2C-F50D-CE0C-4865-1283B58B9050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24710551-9FCF-4D44-AEC3-74A5183CB59B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D9ED3C59-C2C5-678E-599F-DE72C7F4310B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10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17942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003D79-C5AA-3ECB-0DF9-299BE0379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konzept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4B293D8-5ED2-74E3-D99D-820F7E8EEADF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Aufgaben der Montageanlage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01F26D2-C9E0-6F6D-D67C-1792E4552236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46919" y="2778048"/>
            <a:ext cx="11160000" cy="4464000"/>
          </a:xfrm>
        </p:spPr>
        <p:txBody>
          <a:bodyPr/>
          <a:lstStyle/>
          <a:p>
            <a:r>
              <a:rPr lang="de-DE" sz="2000" b="1">
                <a:cs typeface="Arial"/>
              </a:rPr>
              <a:t>Arbeitsschritte:</a:t>
            </a:r>
            <a:endParaRPr lang="en-US" sz="2000">
              <a:cs typeface="Arial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sz="2000">
                <a:cs typeface="Arial"/>
              </a:rPr>
              <a:t>Auswerfen der Unterseite mit dem MagSafe-Magnet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>
                <a:cs typeface="Arial"/>
              </a:rPr>
              <a:t>Auswerfen der Oberseite mit dem Flaschenöffner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>
                <a:cs typeface="Arial"/>
              </a:rPr>
              <a:t>Überziehen des Gummibands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>
                <a:cs typeface="Arial"/>
              </a:rPr>
              <a:t>Ausgabe des Werbegeschenks</a:t>
            </a:r>
            <a:endParaRPr lang="de-DE" sz="200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E55FA7A-23C7-65F3-3E53-8E263E46561A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25. Jun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F95E5E8-E029-EF16-7FFC-97C69940833B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88823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565E09-F77E-E033-970E-61CF07F3F0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E7FA0A-5595-24CD-5565-D93E1CB78B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konzept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A5F16B-7DF1-39F6-42BD-A22F07D8F6D7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Realisierung der Montageanlage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E14DE4F-F1FD-6AF2-2C1B-1729386D281E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25. Jun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DDB1BF-A413-F400-F13A-AAB7DD31590A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12</a:t>
            </a:fld>
            <a:endParaRPr lang="de-DE"/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F5EDDE37-66BC-4BDD-A452-B9726EE1D22F}"/>
              </a:ext>
            </a:extLst>
          </p:cNvPr>
          <p:cNvCxnSpPr>
            <a:cxnSpLocks/>
            <a:stCxn id="73" idx="2"/>
            <a:endCxn id="4" idx="1"/>
          </p:cNvCxnSpPr>
          <p:nvPr/>
        </p:nvCxnSpPr>
        <p:spPr>
          <a:xfrm>
            <a:off x="1927525" y="1781415"/>
            <a:ext cx="961331" cy="1977687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F8CAEAA2-E89E-487A-8595-B69A2D399123}"/>
              </a:ext>
            </a:extLst>
          </p:cNvPr>
          <p:cNvSpPr/>
          <p:nvPr/>
        </p:nvSpPr>
        <p:spPr>
          <a:xfrm>
            <a:off x="8289289" y="1372912"/>
            <a:ext cx="2374299" cy="705144"/>
          </a:xfrm>
          <a:prstGeom prst="roundRect">
            <a:avLst/>
          </a:prstGeom>
          <a:solidFill>
            <a:srgbClr val="F6F6F6"/>
          </a:solidFill>
          <a:ln w="2857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44EC2EE-EE31-4266-94C3-A54F52859725}"/>
              </a:ext>
            </a:extLst>
          </p:cNvPr>
          <p:cNvSpPr/>
          <p:nvPr/>
        </p:nvSpPr>
        <p:spPr>
          <a:xfrm>
            <a:off x="2888856" y="1201725"/>
            <a:ext cx="9143131" cy="5114754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1DA36FF0-F7C2-4054-BD62-4C9BC53A925E}"/>
              </a:ext>
            </a:extLst>
          </p:cNvPr>
          <p:cNvSpPr/>
          <p:nvPr/>
        </p:nvSpPr>
        <p:spPr>
          <a:xfrm>
            <a:off x="3273096" y="1794458"/>
            <a:ext cx="1524555" cy="1524555"/>
          </a:xfrm>
          <a:prstGeom prst="ellipse">
            <a:avLst/>
          </a:prstGeom>
          <a:solidFill>
            <a:srgbClr val="00B0F0">
              <a:alpha val="10196"/>
            </a:srgbClr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C3A59FAD-EB22-4BF6-AA45-6269F7C0B199}"/>
              </a:ext>
            </a:extLst>
          </p:cNvPr>
          <p:cNvSpPr/>
          <p:nvPr/>
        </p:nvSpPr>
        <p:spPr>
          <a:xfrm>
            <a:off x="6322437" y="3328209"/>
            <a:ext cx="2461330" cy="2461330"/>
          </a:xfrm>
          <a:prstGeom prst="ellipse">
            <a:avLst/>
          </a:prstGeom>
          <a:noFill/>
          <a:ln w="28575">
            <a:solidFill>
              <a:srgbClr val="7D89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C8677ED6-1A5C-4193-8A33-E28D847FA0F5}"/>
              </a:ext>
            </a:extLst>
          </p:cNvPr>
          <p:cNvSpPr/>
          <p:nvPr/>
        </p:nvSpPr>
        <p:spPr>
          <a:xfrm>
            <a:off x="6322437" y="4021606"/>
            <a:ext cx="991880" cy="1074536"/>
          </a:xfrm>
          <a:prstGeom prst="roundRect">
            <a:avLst/>
          </a:prstGeom>
          <a:noFill/>
          <a:ln w="28575">
            <a:solidFill>
              <a:srgbClr val="7D89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0" name="Kreis: nicht ausgefüllt 9">
            <a:extLst>
              <a:ext uri="{FF2B5EF4-FFF2-40B4-BE49-F238E27FC236}">
                <a16:creationId xmlns:a16="http://schemas.microsoft.com/office/drawing/2014/main" id="{68E1003B-5F8E-45F2-845A-F8CB4C0A55E7}"/>
              </a:ext>
            </a:extLst>
          </p:cNvPr>
          <p:cNvSpPr/>
          <p:nvPr/>
        </p:nvSpPr>
        <p:spPr>
          <a:xfrm>
            <a:off x="6151169" y="3154994"/>
            <a:ext cx="2803866" cy="2803866"/>
          </a:xfrm>
          <a:prstGeom prst="donut">
            <a:avLst>
              <a:gd name="adj" fmla="val 5574"/>
            </a:avLst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1" name="Sechseck 10">
            <a:extLst>
              <a:ext uri="{FF2B5EF4-FFF2-40B4-BE49-F238E27FC236}">
                <a16:creationId xmlns:a16="http://schemas.microsoft.com/office/drawing/2014/main" id="{293ED33E-C252-4949-8C59-2D36B7465CFC}"/>
              </a:ext>
            </a:extLst>
          </p:cNvPr>
          <p:cNvSpPr/>
          <p:nvPr/>
        </p:nvSpPr>
        <p:spPr>
          <a:xfrm>
            <a:off x="7386474" y="4413282"/>
            <a:ext cx="333255" cy="287289"/>
          </a:xfrm>
          <a:prstGeom prst="hexagon">
            <a:avLst/>
          </a:prstGeom>
          <a:solidFill>
            <a:srgbClr val="BBC1C5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5AE6DDE9-2836-45FA-A025-9C9D49F0362D}"/>
              </a:ext>
            </a:extLst>
          </p:cNvPr>
          <p:cNvSpPr/>
          <p:nvPr/>
        </p:nvSpPr>
        <p:spPr>
          <a:xfrm rot="19961597">
            <a:off x="3971371" y="2172902"/>
            <a:ext cx="863103" cy="451331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4AB89FC6-E4F0-42FE-8B57-7391A6463B81}"/>
              </a:ext>
            </a:extLst>
          </p:cNvPr>
          <p:cNvSpPr/>
          <p:nvPr/>
        </p:nvSpPr>
        <p:spPr>
          <a:xfrm rot="21354388">
            <a:off x="4706687" y="2017797"/>
            <a:ext cx="798891" cy="372657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3BFFB9E7-7CA8-4A48-8DAA-067999BA9ED9}"/>
              </a:ext>
            </a:extLst>
          </p:cNvPr>
          <p:cNvSpPr/>
          <p:nvPr/>
        </p:nvSpPr>
        <p:spPr>
          <a:xfrm>
            <a:off x="4309520" y="3919615"/>
            <a:ext cx="1976836" cy="1329643"/>
          </a:xfrm>
          <a:prstGeom prst="roundRect">
            <a:avLst/>
          </a:prstGeom>
          <a:solidFill>
            <a:srgbClr val="F6F6F6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26DFE5F8-0678-4E51-A4E4-87AC7E0A1021}"/>
              </a:ext>
            </a:extLst>
          </p:cNvPr>
          <p:cNvSpPr/>
          <p:nvPr/>
        </p:nvSpPr>
        <p:spPr>
          <a:xfrm>
            <a:off x="8799533" y="3919615"/>
            <a:ext cx="1976836" cy="1329643"/>
          </a:xfrm>
          <a:prstGeom prst="roundRect">
            <a:avLst/>
          </a:prstGeom>
          <a:solidFill>
            <a:srgbClr val="F6F6F6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454E27AE-7658-41EA-A151-2EA2E0903A62}"/>
              </a:ext>
            </a:extLst>
          </p:cNvPr>
          <p:cNvSpPr/>
          <p:nvPr/>
        </p:nvSpPr>
        <p:spPr>
          <a:xfrm rot="8162643">
            <a:off x="7989161" y="2160417"/>
            <a:ext cx="2341540" cy="1284584"/>
          </a:xfrm>
          <a:custGeom>
            <a:avLst/>
            <a:gdLst>
              <a:gd name="connsiteX0" fmla="*/ 0 w 1992586"/>
              <a:gd name="connsiteY0" fmla="*/ 507386 h 1093145"/>
              <a:gd name="connsiteX1" fmla="*/ 1817111 w 1992586"/>
              <a:gd name="connsiteY1" fmla="*/ 83298 h 1093145"/>
              <a:gd name="connsiteX2" fmla="*/ 1878200 w 1992586"/>
              <a:gd name="connsiteY2" fmla="*/ 104959 h 1093145"/>
              <a:gd name="connsiteX3" fmla="*/ 1992586 w 1992586"/>
              <a:gd name="connsiteY3" fmla="*/ 893790 h 1093145"/>
              <a:gd name="connsiteX4" fmla="*/ 1621788 w 1992586"/>
              <a:gd name="connsiteY4" fmla="*/ 917211 h 1093145"/>
              <a:gd name="connsiteX5" fmla="*/ 1545104 w 1992586"/>
              <a:gd name="connsiteY5" fmla="*/ 888881 h 1093145"/>
              <a:gd name="connsiteX6" fmla="*/ 617230 w 1992586"/>
              <a:gd name="connsiteY6" fmla="*/ 1093145 h 1093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92586" h="1093145">
                <a:moveTo>
                  <a:pt x="0" y="507386"/>
                </a:moveTo>
                <a:cubicBezTo>
                  <a:pt x="479047" y="42944"/>
                  <a:pt x="1184512" y="-113645"/>
                  <a:pt x="1817111" y="83298"/>
                </a:cubicBezTo>
                <a:lnTo>
                  <a:pt x="1878200" y="104959"/>
                </a:lnTo>
                <a:lnTo>
                  <a:pt x="1992586" y="893790"/>
                </a:lnTo>
                <a:lnTo>
                  <a:pt x="1621788" y="917211"/>
                </a:lnTo>
                <a:lnTo>
                  <a:pt x="1545104" y="888881"/>
                </a:lnTo>
                <a:cubicBezTo>
                  <a:pt x="1222409" y="795980"/>
                  <a:pt x="865189" y="871012"/>
                  <a:pt x="617230" y="1093145"/>
                </a:cubicBezTo>
                <a:close/>
              </a:path>
            </a:pathLst>
          </a:custGeom>
          <a:solidFill>
            <a:srgbClr val="F6F6F6"/>
          </a:solidFill>
          <a:ln w="2857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F7256AB8-4530-476E-8406-3C71DE70FD31}"/>
              </a:ext>
            </a:extLst>
          </p:cNvPr>
          <p:cNvSpPr/>
          <p:nvPr/>
        </p:nvSpPr>
        <p:spPr>
          <a:xfrm>
            <a:off x="4501189" y="2022255"/>
            <a:ext cx="456527" cy="456527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E466C47E-7A3E-4277-934C-CEB9899D8DDA}"/>
              </a:ext>
            </a:extLst>
          </p:cNvPr>
          <p:cNvSpPr/>
          <p:nvPr/>
        </p:nvSpPr>
        <p:spPr>
          <a:xfrm rot="4053670">
            <a:off x="5257028" y="2340413"/>
            <a:ext cx="798891" cy="387362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F3185BD7-2BC6-4E79-AB4A-831F6172DE22}"/>
              </a:ext>
            </a:extLst>
          </p:cNvPr>
          <p:cNvSpPr/>
          <p:nvPr/>
        </p:nvSpPr>
        <p:spPr>
          <a:xfrm>
            <a:off x="5315714" y="1989758"/>
            <a:ext cx="375190" cy="375190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C0A73017-61D7-42C1-84D1-0E240195D6B4}"/>
              </a:ext>
            </a:extLst>
          </p:cNvPr>
          <p:cNvSpPr/>
          <p:nvPr/>
        </p:nvSpPr>
        <p:spPr>
          <a:xfrm rot="2326089">
            <a:off x="5682853" y="2619786"/>
            <a:ext cx="253108" cy="489031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2BBFBA9C-E41B-41B8-8343-075BB621F022}"/>
              </a:ext>
            </a:extLst>
          </p:cNvPr>
          <p:cNvSpPr/>
          <p:nvPr/>
        </p:nvSpPr>
        <p:spPr>
          <a:xfrm rot="4320200">
            <a:off x="6016057" y="2296322"/>
            <a:ext cx="1947161" cy="1065494"/>
          </a:xfrm>
          <a:prstGeom prst="roundRect">
            <a:avLst/>
          </a:prstGeom>
          <a:solidFill>
            <a:srgbClr val="F6F6F6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12A986E4-65A7-4AD7-A7EF-CE5306CB23EB}"/>
              </a:ext>
            </a:extLst>
          </p:cNvPr>
          <p:cNvSpPr/>
          <p:nvPr/>
        </p:nvSpPr>
        <p:spPr>
          <a:xfrm rot="3197932">
            <a:off x="5669810" y="3062981"/>
            <a:ext cx="540247" cy="141432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FF6696AD-E85C-4DC1-9ABA-B7564129A183}"/>
              </a:ext>
            </a:extLst>
          </p:cNvPr>
          <p:cNvSpPr/>
          <p:nvPr/>
        </p:nvSpPr>
        <p:spPr>
          <a:xfrm rot="1746794">
            <a:off x="5864470" y="2843743"/>
            <a:ext cx="540247" cy="141432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B5E0FB2C-AC5F-40BE-AF6F-5A7F1B72C277}"/>
              </a:ext>
            </a:extLst>
          </p:cNvPr>
          <p:cNvSpPr/>
          <p:nvPr/>
        </p:nvSpPr>
        <p:spPr>
          <a:xfrm>
            <a:off x="3807110" y="2350848"/>
            <a:ext cx="456527" cy="456527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9CB1E363-38EC-43CE-B6E2-224CC3757928}"/>
              </a:ext>
            </a:extLst>
          </p:cNvPr>
          <p:cNvSpPr txBox="1"/>
          <p:nvPr/>
        </p:nvSpPr>
        <p:spPr>
          <a:xfrm>
            <a:off x="3318227" y="3525117"/>
            <a:ext cx="128049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Roboterarm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0BE72D68-657C-4CEE-B8D9-215D1633E068}"/>
              </a:ext>
            </a:extLst>
          </p:cNvPr>
          <p:cNvSpPr txBox="1"/>
          <p:nvPr/>
        </p:nvSpPr>
        <p:spPr>
          <a:xfrm>
            <a:off x="5181892" y="1270379"/>
            <a:ext cx="187613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Gummibandlager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2354F77B-8950-49AC-8086-F7CF332EAF6D}"/>
              </a:ext>
            </a:extLst>
          </p:cNvPr>
          <p:cNvSpPr txBox="1"/>
          <p:nvPr/>
        </p:nvSpPr>
        <p:spPr>
          <a:xfrm>
            <a:off x="10522743" y="2348756"/>
            <a:ext cx="151750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usgabefach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620438B8-8E19-4748-AE45-91CCA4D4F0D4}"/>
              </a:ext>
            </a:extLst>
          </p:cNvPr>
          <p:cNvSpPr txBox="1"/>
          <p:nvPr/>
        </p:nvSpPr>
        <p:spPr>
          <a:xfrm>
            <a:off x="9788858" y="3133246"/>
            <a:ext cx="193507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usgaberutsch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8A16B258-906C-4A41-B290-7ED2F42F38D7}"/>
              </a:ext>
            </a:extLst>
          </p:cNvPr>
          <p:cNvSpPr txBox="1"/>
          <p:nvPr/>
        </p:nvSpPr>
        <p:spPr>
          <a:xfrm>
            <a:off x="10136888" y="5958859"/>
            <a:ext cx="179603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Oberseitenlager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1615C6CA-DD37-4521-97A3-7FAA7154257A}"/>
              </a:ext>
            </a:extLst>
          </p:cNvPr>
          <p:cNvSpPr txBox="1"/>
          <p:nvPr/>
        </p:nvSpPr>
        <p:spPr>
          <a:xfrm>
            <a:off x="3001125" y="5925647"/>
            <a:ext cx="17842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Unterseitenlager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06F5071F-B002-4E0E-8519-2161E76CF4E9}"/>
              </a:ext>
            </a:extLst>
          </p:cNvPr>
          <p:cNvSpPr txBox="1"/>
          <p:nvPr/>
        </p:nvSpPr>
        <p:spPr>
          <a:xfrm>
            <a:off x="5106131" y="5941996"/>
            <a:ext cx="301832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Drehplatte mit Einkerbung</a:t>
            </a: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40B0D291-00E0-4D50-BC9D-C3B8F490F9F6}"/>
              </a:ext>
            </a:extLst>
          </p:cNvPr>
          <p:cNvSpPr/>
          <p:nvPr/>
        </p:nvSpPr>
        <p:spPr>
          <a:xfrm rot="7535580">
            <a:off x="7174857" y="4494305"/>
            <a:ext cx="267831" cy="729661"/>
          </a:xfrm>
          <a:prstGeom prst="ellipse">
            <a:avLst/>
          </a:prstGeom>
          <a:solidFill>
            <a:srgbClr val="FFC000"/>
          </a:solidFill>
          <a:ln w="28575">
            <a:solidFill>
              <a:srgbClr val="CC9B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81293568-993D-4379-A052-FF88EF4B3588}"/>
              </a:ext>
            </a:extLst>
          </p:cNvPr>
          <p:cNvSpPr txBox="1"/>
          <p:nvPr/>
        </p:nvSpPr>
        <p:spPr>
          <a:xfrm>
            <a:off x="8348246" y="5958860"/>
            <a:ext cx="156485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Hubmagnet</a:t>
            </a:r>
          </a:p>
        </p:txBody>
      </p: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39E8A650-F164-4839-9096-E9F68AFE179B}"/>
              </a:ext>
            </a:extLst>
          </p:cNvPr>
          <p:cNvCxnSpPr>
            <a:cxnSpLocks/>
            <a:stCxn id="31" idx="0"/>
          </p:cNvCxnSpPr>
          <p:nvPr/>
        </p:nvCxnSpPr>
        <p:spPr>
          <a:xfrm flipV="1">
            <a:off x="3958476" y="3247621"/>
            <a:ext cx="305161" cy="277496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6688020-1E8A-4B3B-9746-7529DCEA8C36}"/>
              </a:ext>
            </a:extLst>
          </p:cNvPr>
          <p:cNvCxnSpPr>
            <a:cxnSpLocks/>
            <a:stCxn id="32" idx="2"/>
            <a:endCxn id="28" idx="1"/>
          </p:cNvCxnSpPr>
          <p:nvPr/>
        </p:nvCxnSpPr>
        <p:spPr>
          <a:xfrm>
            <a:off x="6119959" y="1578156"/>
            <a:ext cx="568879" cy="324965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FE9AE135-32F2-45A3-A961-4D70D658D12B}"/>
              </a:ext>
            </a:extLst>
          </p:cNvPr>
          <p:cNvCxnSpPr>
            <a:cxnSpLocks/>
            <a:stCxn id="33" idx="0"/>
            <a:endCxn id="30" idx="3"/>
          </p:cNvCxnSpPr>
          <p:nvPr/>
        </p:nvCxnSpPr>
        <p:spPr>
          <a:xfrm flipH="1" flipV="1">
            <a:off x="10663588" y="1725484"/>
            <a:ext cx="617908" cy="623272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D1EC59DD-E6AE-408E-B91C-62A11DAE2E47}"/>
              </a:ext>
            </a:extLst>
          </p:cNvPr>
          <p:cNvCxnSpPr>
            <a:cxnSpLocks/>
            <a:stCxn id="34" idx="2"/>
          </p:cNvCxnSpPr>
          <p:nvPr/>
        </p:nvCxnSpPr>
        <p:spPr>
          <a:xfrm flipH="1">
            <a:off x="9303144" y="3441023"/>
            <a:ext cx="1453252" cy="125014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14227907-9E88-4EEB-8CA0-23DC5BBB4AA9}"/>
              </a:ext>
            </a:extLst>
          </p:cNvPr>
          <p:cNvCxnSpPr>
            <a:cxnSpLocks/>
            <a:stCxn id="35" idx="0"/>
            <a:endCxn id="15" idx="2"/>
          </p:cNvCxnSpPr>
          <p:nvPr/>
        </p:nvCxnSpPr>
        <p:spPr>
          <a:xfrm flipH="1" flipV="1">
            <a:off x="9787951" y="5249258"/>
            <a:ext cx="1246953" cy="709601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C1DC32DF-9769-4BD2-A635-3C77FB1D3185}"/>
              </a:ext>
            </a:extLst>
          </p:cNvPr>
          <p:cNvCxnSpPr>
            <a:cxnSpLocks/>
            <a:stCxn id="37" idx="0"/>
            <a:endCxn id="8" idx="3"/>
          </p:cNvCxnSpPr>
          <p:nvPr/>
        </p:nvCxnSpPr>
        <p:spPr>
          <a:xfrm flipV="1">
            <a:off x="6615293" y="5429086"/>
            <a:ext cx="67597" cy="512910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A77A1DD0-6BB7-4A41-9456-1F112E49F5EC}"/>
              </a:ext>
            </a:extLst>
          </p:cNvPr>
          <p:cNvCxnSpPr>
            <a:cxnSpLocks/>
            <a:stCxn id="39" idx="0"/>
            <a:endCxn id="38" idx="0"/>
          </p:cNvCxnSpPr>
          <p:nvPr/>
        </p:nvCxnSpPr>
        <p:spPr>
          <a:xfrm flipH="1" flipV="1">
            <a:off x="7605442" y="5071476"/>
            <a:ext cx="1525230" cy="887384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FD5F7960-8839-40CE-AB0A-BE45849E8AA7}"/>
              </a:ext>
            </a:extLst>
          </p:cNvPr>
          <p:cNvCxnSpPr>
            <a:cxnSpLocks/>
            <a:stCxn id="36" idx="0"/>
            <a:endCxn id="14" idx="2"/>
          </p:cNvCxnSpPr>
          <p:nvPr/>
        </p:nvCxnSpPr>
        <p:spPr>
          <a:xfrm flipV="1">
            <a:off x="3893274" y="5249258"/>
            <a:ext cx="1404664" cy="676389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feld 72">
            <a:extLst>
              <a:ext uri="{FF2B5EF4-FFF2-40B4-BE49-F238E27FC236}">
                <a16:creationId xmlns:a16="http://schemas.microsoft.com/office/drawing/2014/main" id="{63C7F8AD-3C37-40A4-AD1F-D4FCB262D762}"/>
              </a:ext>
            </a:extLst>
          </p:cNvPr>
          <p:cNvSpPr txBox="1"/>
          <p:nvPr/>
        </p:nvSpPr>
        <p:spPr>
          <a:xfrm>
            <a:off x="1384508" y="1473638"/>
            <a:ext cx="108603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Gehäuse</a:t>
            </a:r>
          </a:p>
        </p:txBody>
      </p:sp>
      <p:sp>
        <p:nvSpPr>
          <p:cNvPr id="99" name="Textfeld 98">
            <a:extLst>
              <a:ext uri="{FF2B5EF4-FFF2-40B4-BE49-F238E27FC236}">
                <a16:creationId xmlns:a16="http://schemas.microsoft.com/office/drawing/2014/main" id="{769F035B-934A-450F-BABF-460BDAADED8B}"/>
              </a:ext>
            </a:extLst>
          </p:cNvPr>
          <p:cNvSpPr txBox="1"/>
          <p:nvPr/>
        </p:nvSpPr>
        <p:spPr>
          <a:xfrm>
            <a:off x="628848" y="4119392"/>
            <a:ext cx="133396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Schritt 1 &amp; 2</a:t>
            </a: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FF43F2A8-8E82-4372-A652-39AD8FB3250A}"/>
              </a:ext>
            </a:extLst>
          </p:cNvPr>
          <p:cNvSpPr txBox="1"/>
          <p:nvPr/>
        </p:nvSpPr>
        <p:spPr>
          <a:xfrm>
            <a:off x="626253" y="4617419"/>
            <a:ext cx="133396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Schritt 3</a:t>
            </a:r>
          </a:p>
        </p:txBody>
      </p:sp>
      <p:sp>
        <p:nvSpPr>
          <p:cNvPr id="103" name="Textfeld 102">
            <a:extLst>
              <a:ext uri="{FF2B5EF4-FFF2-40B4-BE49-F238E27FC236}">
                <a16:creationId xmlns:a16="http://schemas.microsoft.com/office/drawing/2014/main" id="{205E6649-E4F5-4F06-B058-6EF3BC0BAC06}"/>
              </a:ext>
            </a:extLst>
          </p:cNvPr>
          <p:cNvSpPr txBox="1"/>
          <p:nvPr/>
        </p:nvSpPr>
        <p:spPr>
          <a:xfrm>
            <a:off x="651280" y="5121309"/>
            <a:ext cx="133396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Schritt 4</a:t>
            </a:r>
          </a:p>
        </p:txBody>
      </p:sp>
    </p:spTree>
    <p:extLst>
      <p:ext uri="{BB962C8B-B14F-4D97-AF65-F5344CB8AC3E}">
        <p14:creationId xmlns:p14="http://schemas.microsoft.com/office/powerpoint/2010/main" val="46571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7" grpId="0" animBg="1"/>
      <p:bldP spid="8" grpId="0" animBg="1"/>
      <p:bldP spid="9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21" grpId="0" animBg="1"/>
      <p:bldP spid="22" grpId="0" animBg="1"/>
      <p:bldP spid="23" grpId="0" animBg="1"/>
      <p:bldP spid="24" grpId="0" animBg="1"/>
      <p:bldP spid="27" grpId="0" animBg="1"/>
      <p:bldP spid="28" grpId="0" animBg="1"/>
      <p:bldP spid="25" grpId="0" animBg="1"/>
      <p:bldP spid="26" grpId="0" animBg="1"/>
      <p:bldP spid="29" grpId="0" animBg="1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 animBg="1"/>
      <p:bldP spid="39" grpId="0"/>
      <p:bldP spid="99" grpId="0"/>
      <p:bldP spid="102" grpId="0"/>
      <p:bldP spid="10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2331CF-D837-0F68-97C8-A486533AFE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A87423-4680-96A4-0E83-376D08B9CA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konzept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2E3728C-58F2-1E3C-62C9-A0BEF272131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Realisierung der Montageanlage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36411C3-8858-A0E8-4FF2-6E6DFAE8FD76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25. Jun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6E74A54-80F8-266D-BC30-0496D7521508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FCE89D9-849E-F028-7BE9-A9187E0A5535}"/>
              </a:ext>
            </a:extLst>
          </p:cNvPr>
          <p:cNvSpPr txBox="1"/>
          <p:nvPr/>
        </p:nvSpPr>
        <p:spPr>
          <a:xfrm>
            <a:off x="8801558" y="2410683"/>
            <a:ext cx="3279493" cy="276998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CAD-Baugruppe:</a:t>
            </a:r>
          </a:p>
          <a:p>
            <a: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Linearführung zur Zuführung der Ober- und Unterseite</a:t>
            </a:r>
          </a:p>
          <a:p>
            <a: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Drehmechanismus der Halterplatte</a:t>
            </a:r>
          </a:p>
          <a:p>
            <a: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Roboterarm mit Gummibandmagazi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E439D08-1C9A-F799-3738-73CB505222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319" y="1222657"/>
            <a:ext cx="8005542" cy="514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7887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612D15-AD5F-C065-8701-41DD7DA47E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240207-9BEC-9EF0-13C4-C8CED5F03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konzept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1B73A3E-0A72-9216-A0C6-EC58AF00CE90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Schritt 1 und 2: </a:t>
            </a:r>
            <a:r>
              <a:rPr lang="de-DE" sz="2400">
                <a:cs typeface="Arial"/>
              </a:rPr>
              <a:t>Magazin- und Schieberaufbau</a:t>
            </a:r>
          </a:p>
          <a:p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ABAD88C-2128-8D30-E7FA-8B8BB18D39CB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25. Jun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EC9A352-885F-9B90-3423-C71891A91E9B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14</a:t>
            </a:fld>
            <a:endParaRPr lang="de-DE"/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7" name="3D-Modell 6">
                <a:extLst>
                  <a:ext uri="{FF2B5EF4-FFF2-40B4-BE49-F238E27FC236}">
                    <a16:creationId xmlns:a16="http://schemas.microsoft.com/office/drawing/2014/main" id="{21AFBF90-C534-4E50-AE0B-4BF0D0CA8F7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050579456"/>
                  </p:ext>
                </p:extLst>
              </p:nvPr>
            </p:nvGraphicFramePr>
            <p:xfrm>
              <a:off x="1444873" y="1829335"/>
              <a:ext cx="4050041" cy="3792078"/>
            </p:xfrm>
            <a:graphic>
              <a:graphicData uri="http://schemas.microsoft.com/office/drawing/2017/model3d">
                <am3d:model3d r:embed="rId2">
                  <am3d:spPr>
                    <a:xfrm>
                      <a:off x="0" y="0"/>
                      <a:ext cx="4050041" cy="3792078"/>
                    </a:xfrm>
                    <a:prstGeom prst="rect">
                      <a:avLst/>
                    </a:prstGeom>
                  </am3d:spPr>
                  <am3d:camera>
                    <am3d:pos x="0" y="0" z="6210725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8000" d="1000000"/>
                    <am3d:preTrans dx="-13679999" dy="-7343999" dz="10080000"/>
                    <am3d:scale>
                      <am3d:sx n="1000000" d="1000000"/>
                      <am3d:sy n="1000000" d="1000000"/>
                      <am3d:sz n="1000000" d="1000000"/>
                    </am3d:scale>
                    <am3d:rot ax="1859549" ay="-2417739" az="-1273809"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4892725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7" name="3D-Modell 6">
                <a:extLst>
                  <a:ext uri="{FF2B5EF4-FFF2-40B4-BE49-F238E27FC236}">
                    <a16:creationId xmlns:a16="http://schemas.microsoft.com/office/drawing/2014/main" id="{21AFBF90-C534-4E50-AE0B-4BF0D0CA8F7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444873" y="1829335"/>
                <a:ext cx="4050041" cy="379207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8" name="3D-Modell 7">
                <a:extLst>
                  <a:ext uri="{FF2B5EF4-FFF2-40B4-BE49-F238E27FC236}">
                    <a16:creationId xmlns:a16="http://schemas.microsoft.com/office/drawing/2014/main" id="{67CBF825-0946-4F89-9D3F-4B9B72DA03B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401785735"/>
                  </p:ext>
                </p:extLst>
              </p:nvPr>
            </p:nvGraphicFramePr>
            <p:xfrm>
              <a:off x="6766907" y="2964041"/>
              <a:ext cx="3776847" cy="2148196"/>
            </p:xfrm>
            <a:graphic>
              <a:graphicData uri="http://schemas.microsoft.com/office/drawing/2017/model3d">
                <am3d:model3d r:embed="rId4">
                  <am3d:spPr>
                    <a:xfrm>
                      <a:off x="0" y="0"/>
                      <a:ext cx="3776847" cy="2148196"/>
                    </a:xfrm>
                    <a:prstGeom prst="rect">
                      <a:avLst/>
                    </a:prstGeom>
                  </am3d:spPr>
                  <am3d:camera>
                    <am3d:pos x="0" y="0" z="68105355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4705" d="1000000"/>
                    <am3d:preTrans dx="-18000000" dy="8338235" dz="15855882"/>
                    <am3d:scale>
                      <am3d:sx n="1000000" d="1000000"/>
                      <am3d:sy n="1000000" d="1000000"/>
                      <am3d:sz n="1000000" d="1000000"/>
                    </am3d:scale>
                    <am3d:rot ax="9038361" ay="2346194" az="9627878"/>
                    <am3d:postTrans dx="0" dy="0" dz="0"/>
                  </am3d:trans>
                  <am3d:raster rName="Office3DRenderer" rVer="16.0.8326">
                    <am3d:blip r:embed="rId5"/>
                  </am3d:raster>
                  <am3d:objViewport viewportSz="4149444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8" name="3D-Modell 7">
                <a:extLst>
                  <a:ext uri="{FF2B5EF4-FFF2-40B4-BE49-F238E27FC236}">
                    <a16:creationId xmlns:a16="http://schemas.microsoft.com/office/drawing/2014/main" id="{67CBF825-0946-4F89-9D3F-4B9B72DA03B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766907" y="2964041"/>
                <a:ext cx="3776847" cy="2148196"/>
              </a:xfrm>
              <a:prstGeom prst="rect">
                <a:avLst/>
              </a:prstGeom>
            </p:spPr>
          </p:pic>
        </mc:Fallback>
      </mc:AlternateContent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98B51A1-1C0C-2D13-B12F-6AD6AD42B719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60004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C9C2F9-71D0-EA68-7544-D8AD7259F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4E4423-C8FD-B727-99CC-DE24D4451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konzept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19D1047-3C23-E851-D4C4-8F9D78E362A5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 dirty="0">
                <a:cs typeface="Arial"/>
              </a:rPr>
              <a:t>Schritt 1 und 2: </a:t>
            </a:r>
            <a:r>
              <a:rPr lang="de-DE" sz="2400" dirty="0">
                <a:cs typeface="Arial"/>
              </a:rPr>
              <a:t>Ausschiebemechanismus-Varianten (Morph. Kasten)</a:t>
            </a:r>
          </a:p>
          <a:p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DBFBDA-D8E6-26B0-2188-EF8DA3E56E70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25. Jun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DA55DFC-E7AD-7919-75CA-757E47BAD34B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15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D015912-0683-4EE3-8C62-48E54E15A4CD}"/>
              </a:ext>
            </a:extLst>
          </p:cNvPr>
          <p:cNvCxnSpPr/>
          <p:nvPr/>
        </p:nvCxnSpPr>
        <p:spPr>
          <a:xfrm>
            <a:off x="5849007" y="1726324"/>
            <a:ext cx="0" cy="443011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0DE5A86-8339-BF00-0E3F-338158EA2656}"/>
              </a:ext>
            </a:extLst>
          </p:cNvPr>
          <p:cNvGrpSpPr/>
          <p:nvPr/>
        </p:nvGrpSpPr>
        <p:grpSpPr>
          <a:xfrm>
            <a:off x="523612" y="1680063"/>
            <a:ext cx="4798534" cy="1351958"/>
            <a:chOff x="523612" y="1680063"/>
            <a:chExt cx="4798534" cy="1351958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0E6CAF53-6FCE-4E21-800A-6C1AB42E74BF}"/>
                </a:ext>
              </a:extLst>
            </p:cNvPr>
            <p:cNvSpPr/>
            <p:nvPr/>
          </p:nvSpPr>
          <p:spPr>
            <a:xfrm>
              <a:off x="2519822" y="2268551"/>
              <a:ext cx="756738" cy="763470"/>
            </a:xfrm>
            <a:prstGeom prst="ellipse">
              <a:avLst/>
            </a:prstGeom>
            <a:solidFill>
              <a:srgbClr val="9B9B9B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D4E60825-7437-46FF-BA7F-6FFC36A25265}"/>
                </a:ext>
              </a:extLst>
            </p:cNvPr>
            <p:cNvSpPr/>
            <p:nvPr/>
          </p:nvSpPr>
          <p:spPr>
            <a:xfrm>
              <a:off x="1857682" y="2455219"/>
              <a:ext cx="583321" cy="425669"/>
            </a:xfrm>
            <a:prstGeom prst="rect">
              <a:avLst/>
            </a:prstGeom>
            <a:solidFill>
              <a:srgbClr val="3C8A2E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9B090EAB-AD2E-4FD0-901B-CB085AB7EE9B}"/>
                </a:ext>
              </a:extLst>
            </p:cNvPr>
            <p:cNvSpPr/>
            <p:nvPr/>
          </p:nvSpPr>
          <p:spPr>
            <a:xfrm>
              <a:off x="3371157" y="2449017"/>
              <a:ext cx="583321" cy="438071"/>
            </a:xfrm>
            <a:prstGeom prst="rect">
              <a:avLst/>
            </a:prstGeom>
            <a:solidFill>
              <a:srgbClr val="3C8A2E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D12308BF-EA5B-47EC-9E83-16E52D1F8170}"/>
                </a:ext>
              </a:extLst>
            </p:cNvPr>
            <p:cNvSpPr/>
            <p:nvPr/>
          </p:nvSpPr>
          <p:spPr>
            <a:xfrm>
              <a:off x="1408351" y="2455219"/>
              <a:ext cx="402023" cy="42566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3F04BB33-70F3-46C4-B0A4-65157CFB869F}"/>
                </a:ext>
              </a:extLst>
            </p:cNvPr>
            <p:cNvSpPr/>
            <p:nvPr/>
          </p:nvSpPr>
          <p:spPr>
            <a:xfrm>
              <a:off x="4001786" y="2449017"/>
              <a:ext cx="402023" cy="43187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A74B7165-1848-4577-9040-6F6539014663}"/>
                </a:ext>
              </a:extLst>
            </p:cNvPr>
            <p:cNvCxnSpPr/>
            <p:nvPr/>
          </p:nvCxnSpPr>
          <p:spPr>
            <a:xfrm>
              <a:off x="1100935" y="2652288"/>
              <a:ext cx="225741" cy="0"/>
            </a:xfrm>
            <a:prstGeom prst="straightConnector1">
              <a:avLst/>
            </a:prstGeom>
            <a:ln>
              <a:solidFill>
                <a:srgbClr val="FF1A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>
              <a:extLst>
                <a:ext uri="{FF2B5EF4-FFF2-40B4-BE49-F238E27FC236}">
                  <a16:creationId xmlns:a16="http://schemas.microsoft.com/office/drawing/2014/main" id="{EB1EEC3B-585D-4BBA-B6A3-FF23B6738A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06286" y="2652288"/>
              <a:ext cx="231229" cy="0"/>
            </a:xfrm>
            <a:prstGeom prst="straightConnector1">
              <a:avLst/>
            </a:prstGeom>
            <a:ln>
              <a:solidFill>
                <a:srgbClr val="FF1A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CC3D0415-381D-4E58-AA79-6074E854B8F3}"/>
                </a:ext>
              </a:extLst>
            </p:cNvPr>
            <p:cNvSpPr/>
            <p:nvPr/>
          </p:nvSpPr>
          <p:spPr>
            <a:xfrm>
              <a:off x="596430" y="2534871"/>
              <a:ext cx="409906" cy="230831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B6E86EFF-1BD0-45CA-BD74-A21F1BEC3812}"/>
                </a:ext>
              </a:extLst>
            </p:cNvPr>
            <p:cNvSpPr/>
            <p:nvPr/>
          </p:nvSpPr>
          <p:spPr>
            <a:xfrm>
              <a:off x="4868886" y="2534871"/>
              <a:ext cx="409906" cy="230831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23F32E35-78BB-4811-8678-861F42E7F956}"/>
                </a:ext>
              </a:extLst>
            </p:cNvPr>
            <p:cNvSpPr txBox="1"/>
            <p:nvPr/>
          </p:nvSpPr>
          <p:spPr>
            <a:xfrm>
              <a:off x="650264" y="2527175"/>
              <a:ext cx="37313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LM</a:t>
              </a: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F045C2D1-4D47-43EF-AC0D-B7F6D44B6E57}"/>
                </a:ext>
              </a:extLst>
            </p:cNvPr>
            <p:cNvSpPr txBox="1"/>
            <p:nvPr/>
          </p:nvSpPr>
          <p:spPr>
            <a:xfrm>
              <a:off x="4949012" y="2519481"/>
              <a:ext cx="37313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LM</a:t>
              </a: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2C31584A-8033-4D1C-827F-AF2C2BF2FEB9}"/>
                </a:ext>
              </a:extLst>
            </p:cNvPr>
            <p:cNvSpPr txBox="1"/>
            <p:nvPr/>
          </p:nvSpPr>
          <p:spPr>
            <a:xfrm>
              <a:off x="2013996" y="2559143"/>
              <a:ext cx="37313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M1</a:t>
              </a: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0C8B30A8-A1BE-40E4-A562-58548F71E334}"/>
                </a:ext>
              </a:extLst>
            </p:cNvPr>
            <p:cNvSpPr txBox="1"/>
            <p:nvPr/>
          </p:nvSpPr>
          <p:spPr>
            <a:xfrm>
              <a:off x="3526175" y="2559143"/>
              <a:ext cx="37313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M2</a:t>
              </a: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FFF63F36-0433-4057-89F6-C170B0A041FA}"/>
                </a:ext>
              </a:extLst>
            </p:cNvPr>
            <p:cNvSpPr txBox="1"/>
            <p:nvPr/>
          </p:nvSpPr>
          <p:spPr>
            <a:xfrm>
              <a:off x="1516059" y="2541841"/>
              <a:ext cx="37313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>
                  <a:solidFill>
                    <a:schemeClr val="bg1"/>
                  </a:solidFill>
                  <a:latin typeface="ZEISS Frutiger Next W1G"/>
                </a:rPr>
                <a:t>S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73067868-09FF-43E0-8CC8-7491C4FCC7A8}"/>
                </a:ext>
              </a:extLst>
            </p:cNvPr>
            <p:cNvSpPr txBox="1"/>
            <p:nvPr/>
          </p:nvSpPr>
          <p:spPr>
            <a:xfrm>
              <a:off x="4075317" y="2541840"/>
              <a:ext cx="37313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>
                  <a:solidFill>
                    <a:schemeClr val="bg1"/>
                  </a:solidFill>
                  <a:latin typeface="ZEISS Frutiger Next W1G"/>
                </a:rPr>
                <a:t>S2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ZEISS Frutiger Next W1G"/>
              </a:endParaRP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050B9D80-4051-4EA4-8C97-CF933D1FC74A}"/>
                </a:ext>
              </a:extLst>
            </p:cNvPr>
            <p:cNvSpPr txBox="1"/>
            <p:nvPr/>
          </p:nvSpPr>
          <p:spPr>
            <a:xfrm>
              <a:off x="2785206" y="2534871"/>
              <a:ext cx="37313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>
                  <a:solidFill>
                    <a:srgbClr val="000000"/>
                  </a:solidFill>
                  <a:latin typeface="ZEISS Frutiger Next W1G"/>
                </a:rPr>
                <a:t>DP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DED59D1A-B888-456B-B241-AB803A1749F9}"/>
                </a:ext>
              </a:extLst>
            </p:cNvPr>
            <p:cNvSpPr txBox="1"/>
            <p:nvPr/>
          </p:nvSpPr>
          <p:spPr>
            <a:xfrm>
              <a:off x="523612" y="1680063"/>
              <a:ext cx="354988" cy="246221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srgbClr val="000000"/>
                  </a:solidFill>
                  <a:latin typeface="ZEISS Frutiger Next W1G"/>
                </a:rPr>
                <a:t>K</a:t>
              </a: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4467821C-E086-0461-560E-15ACF7D9EDE8}"/>
              </a:ext>
            </a:extLst>
          </p:cNvPr>
          <p:cNvGrpSpPr/>
          <p:nvPr/>
        </p:nvGrpSpPr>
        <p:grpSpPr>
          <a:xfrm>
            <a:off x="7721794" y="1996233"/>
            <a:ext cx="2642777" cy="1348141"/>
            <a:chOff x="7721794" y="1996233"/>
            <a:chExt cx="2642777" cy="1348141"/>
          </a:xfrm>
        </p:grpSpPr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907CB028-DCF3-41AA-8710-D8BA85A245AB}"/>
                </a:ext>
              </a:extLst>
            </p:cNvPr>
            <p:cNvSpPr/>
            <p:nvPr/>
          </p:nvSpPr>
          <p:spPr>
            <a:xfrm>
              <a:off x="8617478" y="1996233"/>
              <a:ext cx="756738" cy="763470"/>
            </a:xfrm>
            <a:prstGeom prst="ellipse">
              <a:avLst/>
            </a:prstGeom>
            <a:solidFill>
              <a:srgbClr val="9B9B9B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62C201A0-7A0C-44C2-BA6B-EAC7BED6D94D}"/>
                </a:ext>
              </a:extLst>
            </p:cNvPr>
            <p:cNvSpPr/>
            <p:nvPr/>
          </p:nvSpPr>
          <p:spPr>
            <a:xfrm>
              <a:off x="7955338" y="2182901"/>
              <a:ext cx="583321" cy="425669"/>
            </a:xfrm>
            <a:prstGeom prst="rect">
              <a:avLst/>
            </a:prstGeom>
            <a:solidFill>
              <a:srgbClr val="3C8A2E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22194739-B4CB-4887-80E1-70E98C5B8799}"/>
                </a:ext>
              </a:extLst>
            </p:cNvPr>
            <p:cNvSpPr/>
            <p:nvPr/>
          </p:nvSpPr>
          <p:spPr>
            <a:xfrm>
              <a:off x="9468813" y="2176699"/>
              <a:ext cx="583321" cy="438071"/>
            </a:xfrm>
            <a:prstGeom prst="rect">
              <a:avLst/>
            </a:prstGeom>
            <a:solidFill>
              <a:srgbClr val="3C8A2E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BD57B453-3A97-498B-A91A-8968980BE498}"/>
                </a:ext>
              </a:extLst>
            </p:cNvPr>
            <p:cNvSpPr/>
            <p:nvPr/>
          </p:nvSpPr>
          <p:spPr>
            <a:xfrm>
              <a:off x="7721794" y="2206809"/>
              <a:ext cx="402023" cy="38225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D2D99380-8A77-46FC-8DF4-22BEF58F7AE2}"/>
                </a:ext>
              </a:extLst>
            </p:cNvPr>
            <p:cNvSpPr/>
            <p:nvPr/>
          </p:nvSpPr>
          <p:spPr>
            <a:xfrm>
              <a:off x="9917906" y="2206809"/>
              <a:ext cx="402023" cy="38160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2A2A3465-C99A-4F91-9C16-5AF7E64361AC}"/>
                </a:ext>
              </a:extLst>
            </p:cNvPr>
            <p:cNvSpPr txBox="1"/>
            <p:nvPr/>
          </p:nvSpPr>
          <p:spPr>
            <a:xfrm>
              <a:off x="8141905" y="2284823"/>
              <a:ext cx="37313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M1</a:t>
              </a: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5E8D9890-0CE3-4E8A-A3FD-DADC36812966}"/>
                </a:ext>
              </a:extLst>
            </p:cNvPr>
            <p:cNvSpPr txBox="1"/>
            <p:nvPr/>
          </p:nvSpPr>
          <p:spPr>
            <a:xfrm>
              <a:off x="9623831" y="2286825"/>
              <a:ext cx="37313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M2</a:t>
              </a:r>
            </a:p>
          </p:txBody>
        </p: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CDC68807-4C7E-41FD-B10D-399D632B2CA9}"/>
                </a:ext>
              </a:extLst>
            </p:cNvPr>
            <p:cNvSpPr txBox="1"/>
            <p:nvPr/>
          </p:nvSpPr>
          <p:spPr>
            <a:xfrm>
              <a:off x="7829502" y="2261321"/>
              <a:ext cx="37313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>
                  <a:solidFill>
                    <a:schemeClr val="bg1"/>
                  </a:solidFill>
                  <a:latin typeface="ZEISS Frutiger Next W1G"/>
                </a:rPr>
                <a:t>S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30CC6FDC-011C-4247-A7B4-58F6E48CE947}"/>
                </a:ext>
              </a:extLst>
            </p:cNvPr>
            <p:cNvSpPr txBox="1"/>
            <p:nvPr/>
          </p:nvSpPr>
          <p:spPr>
            <a:xfrm>
              <a:off x="9991437" y="2267520"/>
              <a:ext cx="37313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>
                  <a:solidFill>
                    <a:schemeClr val="bg1"/>
                  </a:solidFill>
                  <a:latin typeface="ZEISS Frutiger Next W1G"/>
                </a:rPr>
                <a:t>S2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ZEISS Frutiger Next W1G"/>
              </a:endParaRP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9CF614EA-F38D-48BB-BDC9-8139981E6BDF}"/>
                </a:ext>
              </a:extLst>
            </p:cNvPr>
            <p:cNvSpPr txBox="1"/>
            <p:nvPr/>
          </p:nvSpPr>
          <p:spPr>
            <a:xfrm>
              <a:off x="8882862" y="2262553"/>
              <a:ext cx="37313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srgbClr val="000000"/>
                  </a:solidFill>
                  <a:latin typeface="ZEISS Frutiger Next W1G"/>
                </a:rPr>
                <a:t>DP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EEB3EBD4-44E2-4C72-8DA6-279203768F7C}"/>
                </a:ext>
              </a:extLst>
            </p:cNvPr>
            <p:cNvCxnSpPr>
              <a:cxnSpLocks/>
              <a:stCxn id="37" idx="2"/>
            </p:cNvCxnSpPr>
            <p:nvPr/>
          </p:nvCxnSpPr>
          <p:spPr>
            <a:xfrm flipH="1">
              <a:off x="7922805" y="2589068"/>
              <a:ext cx="1" cy="470569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A53F460B-053B-4BCE-9815-F8B96D79DEA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903369" y="3047683"/>
              <a:ext cx="2235994" cy="11953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E4BF4A7A-EEF5-4176-951B-76697C6E55D5}"/>
                </a:ext>
              </a:extLst>
            </p:cNvPr>
            <p:cNvCxnSpPr>
              <a:cxnSpLocks/>
              <a:stCxn id="38" idx="2"/>
            </p:cNvCxnSpPr>
            <p:nvPr/>
          </p:nvCxnSpPr>
          <p:spPr>
            <a:xfrm flipH="1">
              <a:off x="10118917" y="2588414"/>
              <a:ext cx="1" cy="459269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mit Pfeil 54">
              <a:extLst>
                <a:ext uri="{FF2B5EF4-FFF2-40B4-BE49-F238E27FC236}">
                  <a16:creationId xmlns:a16="http://schemas.microsoft.com/office/drawing/2014/main" id="{175563A0-5F83-4C23-8482-477AE56A2ED0}"/>
                </a:ext>
              </a:extLst>
            </p:cNvPr>
            <p:cNvCxnSpPr>
              <a:cxnSpLocks/>
            </p:cNvCxnSpPr>
            <p:nvPr/>
          </p:nvCxnSpPr>
          <p:spPr>
            <a:xfrm>
              <a:off x="8764642" y="2975557"/>
              <a:ext cx="491354" cy="0"/>
            </a:xfrm>
            <a:prstGeom prst="straightConnector1">
              <a:avLst/>
            </a:prstGeom>
            <a:ln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9F6F1732-E57B-48B3-A71A-8423F94FE304}"/>
                </a:ext>
              </a:extLst>
            </p:cNvPr>
            <p:cNvSpPr/>
            <p:nvPr/>
          </p:nvSpPr>
          <p:spPr>
            <a:xfrm>
              <a:off x="8764642" y="3113543"/>
              <a:ext cx="474292" cy="230831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58" name="Textfeld 57">
              <a:extLst>
                <a:ext uri="{FF2B5EF4-FFF2-40B4-BE49-F238E27FC236}">
                  <a16:creationId xmlns:a16="http://schemas.microsoft.com/office/drawing/2014/main" id="{648C04DA-7DF2-4460-9F4B-B365DC4917F1}"/>
                </a:ext>
              </a:extLst>
            </p:cNvPr>
            <p:cNvSpPr txBox="1"/>
            <p:nvPr/>
          </p:nvSpPr>
          <p:spPr>
            <a:xfrm>
              <a:off x="8823753" y="3127597"/>
              <a:ext cx="491351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ZEISS Frutiger Next W1G"/>
                  <a:ea typeface="+mn-ea"/>
                  <a:cs typeface="+mn-cs"/>
                </a:rPr>
                <a:t>Servo</a:t>
              </a:r>
            </a:p>
          </p:txBody>
        </p:sp>
      </p:grpSp>
      <p:sp>
        <p:nvSpPr>
          <p:cNvPr id="59" name="Textfeld 58">
            <a:extLst>
              <a:ext uri="{FF2B5EF4-FFF2-40B4-BE49-F238E27FC236}">
                <a16:creationId xmlns:a16="http://schemas.microsoft.com/office/drawing/2014/main" id="{2BED8017-E6D4-4B9B-AE87-05D05D8BEFC1}"/>
              </a:ext>
            </a:extLst>
          </p:cNvPr>
          <p:cNvSpPr txBox="1"/>
          <p:nvPr/>
        </p:nvSpPr>
        <p:spPr>
          <a:xfrm>
            <a:off x="310643" y="3816610"/>
            <a:ext cx="5175095" cy="7181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2 separate Linearantriebe</a:t>
            </a:r>
          </a:p>
          <a:p>
            <a: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Vor- und Rückwärtsbewegung</a:t>
            </a:r>
            <a:r>
              <a:rPr lang="de-DE" sz="2000">
                <a:solidFill>
                  <a:srgbClr val="000000"/>
                </a:solidFill>
                <a:latin typeface="ZEISS Frutiger Next W1G"/>
              </a:rPr>
              <a:t> der Schieber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622368D2-8004-4091-8FDB-2C8976587DF9}"/>
              </a:ext>
            </a:extLst>
          </p:cNvPr>
          <p:cNvSpPr txBox="1"/>
          <p:nvPr/>
        </p:nvSpPr>
        <p:spPr>
          <a:xfrm>
            <a:off x="227178" y="5022825"/>
            <a:ext cx="5336721" cy="7181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</a:pPr>
            <a:r>
              <a:rPr lang="de-DE" sz="2000">
                <a:solidFill>
                  <a:srgbClr val="00B050"/>
                </a:solidFill>
                <a:latin typeface="ZEISS Frutiger Next W1G"/>
              </a:rPr>
              <a:t>+   </a:t>
            </a:r>
            <a:r>
              <a:rPr lang="de-DE" sz="2000">
                <a:latin typeface="ZEISS Frutiger Next W1G"/>
              </a:rPr>
              <a:t>gleichzeitige Befüllung der Drehplatte möglich</a:t>
            </a:r>
          </a:p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</a:pPr>
            <a:r>
              <a:rPr lang="de-DE" sz="2000">
                <a:solidFill>
                  <a:srgbClr val="FF0000"/>
                </a:solidFill>
                <a:latin typeface="ZEISS Frutiger Next W1G"/>
              </a:rPr>
              <a:t>-    </a:t>
            </a:r>
            <a:r>
              <a:rPr lang="de-DE" sz="2000">
                <a:solidFill>
                  <a:srgbClr val="000000"/>
                </a:solidFill>
                <a:latin typeface="ZEISS Frutiger Next W1G"/>
              </a:rPr>
              <a:t>hoher Platzbedarf (600mm) + 2 Antriebe nötig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C71ED1D8-1BC4-4599-9508-F818830F4ED5}"/>
              </a:ext>
            </a:extLst>
          </p:cNvPr>
          <p:cNvSpPr txBox="1"/>
          <p:nvPr/>
        </p:nvSpPr>
        <p:spPr>
          <a:xfrm>
            <a:off x="6450492" y="3642916"/>
            <a:ext cx="5090710" cy="1025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sz="2000">
                <a:solidFill>
                  <a:srgbClr val="000000"/>
                </a:solidFill>
              </a:rPr>
              <a:t>Kopplung beider Schieber durch Verbindungsstück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de-DE" sz="2000">
                <a:solidFill>
                  <a:srgbClr val="000000"/>
                </a:solidFill>
              </a:rPr>
              <a:t>1 Antrieb am Verbindungsstück der Schieber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3C711AE8-3DE9-4904-9083-25FDD0F7A80D}"/>
              </a:ext>
            </a:extLst>
          </p:cNvPr>
          <p:cNvSpPr txBox="1"/>
          <p:nvPr/>
        </p:nvSpPr>
        <p:spPr>
          <a:xfrm>
            <a:off x="6447869" y="4924761"/>
            <a:ext cx="5516953" cy="1025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ea typeface="+mn-ea"/>
                <a:cs typeface="+mn-cs"/>
              </a:rPr>
              <a:t>+</a:t>
            </a: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  nur 1 Antrieb + 2 Funktionen mit 1 Hub</a:t>
            </a:r>
          </a:p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</a:pPr>
            <a:r>
              <a:rPr lang="de-DE" sz="2000">
                <a:solidFill>
                  <a:srgbClr val="FF1A00"/>
                </a:solidFill>
              </a:rPr>
              <a:t>-</a:t>
            </a:r>
            <a:r>
              <a:rPr lang="de-DE" sz="2000">
                <a:solidFill>
                  <a:srgbClr val="000000"/>
                </a:solidFill>
              </a:rPr>
              <a:t>    Führung notwendig + Moment auf Schlitten (exzentrischer Aufbau)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54F4D30-9ADE-4FF2-76E9-430D0984A33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162723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C9C2F9-71D0-EA68-7544-D8AD7259F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4E4423-C8FD-B727-99CC-DE24D4451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konzept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19D1047-3C23-E851-D4C4-8F9D78E362A5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Schritt 1 und 2: </a:t>
            </a:r>
            <a:r>
              <a:rPr lang="de-DE" sz="2400">
                <a:cs typeface="Arial"/>
              </a:rPr>
              <a:t>Ausschiebemechanismus-Konzept</a:t>
            </a:r>
          </a:p>
          <a:p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DBFBDA-D8E6-26B0-2188-EF8DA3E56E70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25. Jun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DA55DFC-E7AD-7919-75CA-757E47BAD34B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16</a:t>
            </a:fld>
            <a:endParaRPr lang="de-DE"/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9" name="3D-Modell 8">
                <a:extLst>
                  <a:ext uri="{FF2B5EF4-FFF2-40B4-BE49-F238E27FC236}">
                    <a16:creationId xmlns:a16="http://schemas.microsoft.com/office/drawing/2014/main" id="{9A90C581-6408-4E08-9022-DF64709A512A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583289817"/>
                  </p:ext>
                </p:extLst>
              </p:nvPr>
            </p:nvGraphicFramePr>
            <p:xfrm>
              <a:off x="2505954" y="1934513"/>
              <a:ext cx="8393954" cy="3426103"/>
            </p:xfrm>
            <a:graphic>
              <a:graphicData uri="http://schemas.microsoft.com/office/drawing/2017/model3d">
                <am3d:model3d r:embed="rId2">
                  <am3d:spPr>
                    <a:xfrm>
                      <a:off x="0" y="0"/>
                      <a:ext cx="8393954" cy="3426103"/>
                    </a:xfrm>
                    <a:prstGeom prst="rect">
                      <a:avLst/>
                    </a:prstGeom>
                  </am3d:spPr>
                  <am3d:camera>
                    <am3d:pos x="0" y="0" z="50431614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896" d="1000000"/>
                    <am3d:preTrans dx="-21502065" dy="-4359789" dz="11078527"/>
                    <am3d:scale>
                      <am3d:sx n="1000000" d="1000000"/>
                      <am3d:sy n="1000000" d="1000000"/>
                      <am3d:sz n="1000000" d="1000000"/>
                    </am3d:scale>
                    <am3d:rot ax="4459246" ay="3463607" az="4298069"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9098207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9" name="3D-Modell 8">
                <a:extLst>
                  <a:ext uri="{FF2B5EF4-FFF2-40B4-BE49-F238E27FC236}">
                    <a16:creationId xmlns:a16="http://schemas.microsoft.com/office/drawing/2014/main" id="{9A90C581-6408-4E08-9022-DF64709A512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505954" y="1934513"/>
                <a:ext cx="8393954" cy="3426103"/>
              </a:xfrm>
              <a:prstGeom prst="rect">
                <a:avLst/>
              </a:prstGeom>
            </p:spPr>
          </p:pic>
        </mc:Fallback>
      </mc:AlternateContent>
      <p:sp>
        <p:nvSpPr>
          <p:cNvPr id="10" name="Textfeld 9">
            <a:extLst>
              <a:ext uri="{FF2B5EF4-FFF2-40B4-BE49-F238E27FC236}">
                <a16:creationId xmlns:a16="http://schemas.microsoft.com/office/drawing/2014/main" id="{D4905E52-C0E5-4EA3-8AC1-C6751FE3D2E7}"/>
              </a:ext>
            </a:extLst>
          </p:cNvPr>
          <p:cNvSpPr txBox="1"/>
          <p:nvPr/>
        </p:nvSpPr>
        <p:spPr>
          <a:xfrm>
            <a:off x="6627880" y="5691469"/>
            <a:ext cx="101225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Schlitt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268A752-4C64-4731-B6A0-F72222C4D65B}"/>
              </a:ext>
            </a:extLst>
          </p:cNvPr>
          <p:cNvSpPr txBox="1"/>
          <p:nvPr/>
        </p:nvSpPr>
        <p:spPr>
          <a:xfrm>
            <a:off x="3263649" y="5154619"/>
            <a:ext cx="101225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Schiene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C04E68C-E1F4-4FFA-BB20-F519F8E231FE}"/>
              </a:ext>
            </a:extLst>
          </p:cNvPr>
          <p:cNvSpPr txBox="1"/>
          <p:nvPr/>
        </p:nvSpPr>
        <p:spPr>
          <a:xfrm>
            <a:off x="5956928" y="2511587"/>
            <a:ext cx="216361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Verbindungsstück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8A94016-0DFA-40FD-BFCF-715B9820D6E6}"/>
              </a:ext>
            </a:extLst>
          </p:cNvPr>
          <p:cNvSpPr txBox="1"/>
          <p:nvPr/>
        </p:nvSpPr>
        <p:spPr>
          <a:xfrm>
            <a:off x="758952" y="4486285"/>
            <a:ext cx="225028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Zahnstangenantrieb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613728BC-F39D-4DDE-87C5-15124EA9A7D6}"/>
              </a:ext>
            </a:extLst>
          </p:cNvPr>
          <p:cNvCxnSpPr>
            <a:cxnSpLocks/>
          </p:cNvCxnSpPr>
          <p:nvPr/>
        </p:nvCxnSpPr>
        <p:spPr>
          <a:xfrm flipV="1">
            <a:off x="3942806" y="4836846"/>
            <a:ext cx="709748" cy="32344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9820958-591E-42E9-8CDA-A7251CAD4AE2}"/>
              </a:ext>
            </a:extLst>
          </p:cNvPr>
          <p:cNvCxnSpPr>
            <a:cxnSpLocks/>
          </p:cNvCxnSpPr>
          <p:nvPr/>
        </p:nvCxnSpPr>
        <p:spPr>
          <a:xfrm flipH="1" flipV="1">
            <a:off x="6653265" y="5179180"/>
            <a:ext cx="257069" cy="44332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3FC01E45-2616-4838-AA74-15B1C2EA7181}"/>
              </a:ext>
            </a:extLst>
          </p:cNvPr>
          <p:cNvCxnSpPr>
            <a:cxnSpLocks/>
          </p:cNvCxnSpPr>
          <p:nvPr/>
        </p:nvCxnSpPr>
        <p:spPr>
          <a:xfrm flipV="1">
            <a:off x="2858589" y="4143063"/>
            <a:ext cx="1145177" cy="45044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4B65547A-1BF8-40A9-BDF7-0D15EE120CBD}"/>
              </a:ext>
            </a:extLst>
          </p:cNvPr>
          <p:cNvCxnSpPr>
            <a:cxnSpLocks/>
          </p:cNvCxnSpPr>
          <p:nvPr/>
        </p:nvCxnSpPr>
        <p:spPr>
          <a:xfrm flipH="1">
            <a:off x="6702931" y="2826776"/>
            <a:ext cx="207403" cy="15415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D5F60A77-D150-490C-964A-C5B8C2BA07DF}"/>
              </a:ext>
            </a:extLst>
          </p:cNvPr>
          <p:cNvSpPr txBox="1"/>
          <p:nvPr/>
        </p:nvSpPr>
        <p:spPr>
          <a:xfrm>
            <a:off x="9146442" y="1601090"/>
            <a:ext cx="216361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Magazin</a:t>
            </a: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1277E27A-692D-4F7E-8EAB-9C3628ACD188}"/>
              </a:ext>
            </a:extLst>
          </p:cNvPr>
          <p:cNvCxnSpPr>
            <a:cxnSpLocks/>
          </p:cNvCxnSpPr>
          <p:nvPr/>
        </p:nvCxnSpPr>
        <p:spPr>
          <a:xfrm flipH="1">
            <a:off x="9472749" y="1978463"/>
            <a:ext cx="333186" cy="81058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7B7D18CD-D292-4709-97BE-6983C96E6C8C}"/>
              </a:ext>
            </a:extLst>
          </p:cNvPr>
          <p:cNvSpPr txBox="1"/>
          <p:nvPr/>
        </p:nvSpPr>
        <p:spPr>
          <a:xfrm>
            <a:off x="1383632" y="2177529"/>
            <a:ext cx="101225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Schieber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0613FD5E-8788-4500-A5C0-90D1F76B1667}"/>
              </a:ext>
            </a:extLst>
          </p:cNvPr>
          <p:cNvCxnSpPr>
            <a:cxnSpLocks/>
          </p:cNvCxnSpPr>
          <p:nvPr/>
        </p:nvCxnSpPr>
        <p:spPr>
          <a:xfrm>
            <a:off x="2308818" y="2272932"/>
            <a:ext cx="1122359" cy="57606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51607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C9C2F9-71D0-EA68-7544-D8AD7259F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4E4423-C8FD-B727-99CC-DE24D4451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konzept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19D1047-3C23-E851-D4C4-8F9D78E362A5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Schritt 1 und 2: Auswerfen der Ober- und Unterseite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E82AE8B-6FED-4296-A4A8-0F89F3781839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16000" y="2126355"/>
            <a:ext cx="11160000" cy="369332"/>
          </a:xfrm>
        </p:spPr>
        <p:txBody>
          <a:bodyPr/>
          <a:lstStyle/>
          <a:p>
            <a:r>
              <a:rPr lang="de-DE" sz="2000" b="1">
                <a:cs typeface="Arial"/>
              </a:rPr>
              <a:t>Offene Punkte:</a:t>
            </a:r>
          </a:p>
          <a:p>
            <a:endParaRPr lang="de-DE" sz="2000" b="1"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DBFBDA-D8E6-26B0-2188-EF8DA3E56E70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25. Jun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DA55DFC-E7AD-7919-75CA-757E47BAD34B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F854E29-798F-4687-B72D-B0C948D38373}"/>
              </a:ext>
            </a:extLst>
          </p:cNvPr>
          <p:cNvSpPr txBox="1"/>
          <p:nvPr/>
        </p:nvSpPr>
        <p:spPr>
          <a:xfrm>
            <a:off x="516000" y="2838909"/>
            <a:ext cx="5668669" cy="23596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Moment auf Schlitten </a:t>
            </a: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  <a:sym typeface="Wingdings" panose="05000000000000000000" pitchFamily="2" charset="2"/>
              </a:rPr>
              <a:t> mögl. </a:t>
            </a:r>
            <a:r>
              <a:rPr kumimoji="0" lang="de-DE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  <a:sym typeface="Wingdings" panose="05000000000000000000" pitchFamily="2" charset="2"/>
              </a:rPr>
              <a:t>Verkantung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  <a:sym typeface="Wingdings" panose="05000000000000000000" pitchFamily="2" charset="2"/>
            </a:endParaRP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à"/>
            </a:pPr>
            <a:r>
              <a:rPr lang="de-DE" sz="2000">
                <a:solidFill>
                  <a:srgbClr val="000000"/>
                </a:solidFill>
                <a:latin typeface="ZEISS Frutiger Next W1G"/>
                <a:sym typeface="Wingdings" panose="05000000000000000000" pitchFamily="2" charset="2"/>
              </a:rPr>
              <a:t>Test notwendig</a:t>
            </a:r>
          </a:p>
          <a:p>
            <a:pPr lvl="1">
              <a:spcAft>
                <a:spcPts val="800"/>
              </a:spcAft>
            </a:pPr>
            <a:endParaRPr lang="de-DE" sz="2000">
              <a:solidFill>
                <a:srgbClr val="000000"/>
              </a:solidFill>
              <a:latin typeface="ZEISS Frutiger Next W1G"/>
              <a:sym typeface="Wingdings" panose="05000000000000000000" pitchFamily="2" charset="2"/>
            </a:endParaRPr>
          </a:p>
          <a:p>
            <a:pPr marL="342900" indent="-342900"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sz="2000">
                <a:solidFill>
                  <a:srgbClr val="000000"/>
                </a:solidFill>
                <a:latin typeface="ZEISS Frutiger Next W1G"/>
                <a:sym typeface="Wingdings" panose="05000000000000000000" pitchFamily="2" charset="2"/>
              </a:rPr>
              <a:t>Falls Problem  Alternativkonzept: Doppelschiene</a:t>
            </a:r>
          </a:p>
          <a:p>
            <a:pPr marL="342900" indent="-342900"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de-DE" sz="2000">
              <a:solidFill>
                <a:srgbClr val="000000"/>
              </a:solidFill>
              <a:latin typeface="ZEISS Frutiger Next W1G"/>
              <a:sym typeface="Wingdings" panose="05000000000000000000" pitchFamily="2" charset="2"/>
            </a:endParaRPr>
          </a:p>
          <a:p>
            <a:pPr marL="342900" indent="-342900"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sz="2000">
                <a:solidFill>
                  <a:srgbClr val="000000"/>
                </a:solidFill>
                <a:latin typeface="ZEISS Frutiger Next W1G"/>
                <a:sym typeface="Wingdings" panose="05000000000000000000" pitchFamily="2" charset="2"/>
              </a:rPr>
              <a:t>Zahnstangenantrieb</a:t>
            </a:r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10" name="3D-Modell 9">
                <a:extLst>
                  <a:ext uri="{FF2B5EF4-FFF2-40B4-BE49-F238E27FC236}">
                    <a16:creationId xmlns:a16="http://schemas.microsoft.com/office/drawing/2014/main" id="{683BB71C-3E4A-4262-BBC6-66E7E7CD1E8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214700632"/>
                  </p:ext>
                </p:extLst>
              </p:nvPr>
            </p:nvGraphicFramePr>
            <p:xfrm>
              <a:off x="6864326" y="1985301"/>
              <a:ext cx="4656226" cy="3547601"/>
            </p:xfrm>
            <a:graphic>
              <a:graphicData uri="http://schemas.microsoft.com/office/drawing/2017/model3d">
                <am3d:model3d r:embed="rId2">
                  <am3d:spPr>
                    <a:xfrm>
                      <a:off x="0" y="0"/>
                      <a:ext cx="4656226" cy="3547601"/>
                    </a:xfrm>
                    <a:prstGeom prst="rect">
                      <a:avLst/>
                    </a:prstGeom>
                  </am3d:spPr>
                  <am3d:camera>
                    <am3d:pos x="0" y="0" z="50431614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896" d="1000000"/>
                    <am3d:preTrans dx="-21502065" dy="-4359789" dz="11078527"/>
                    <am3d:scale>
                      <am3d:sx n="1000000" d="1000000"/>
                      <am3d:sy n="1000000" d="1000000"/>
                      <am3d:sz n="1000000" d="1000000"/>
                    </am3d:scale>
                    <am3d:rot ax="112472" ay="93831" az="3057"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10597627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10" name="3D-Modell 9">
                <a:extLst>
                  <a:ext uri="{FF2B5EF4-FFF2-40B4-BE49-F238E27FC236}">
                    <a16:creationId xmlns:a16="http://schemas.microsoft.com/office/drawing/2014/main" id="{683BB71C-3E4A-4262-BBC6-66E7E7CD1E8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864326" y="1985301"/>
                <a:ext cx="4656226" cy="3547601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2665252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12FE3C-7046-0456-CED9-197D56EA7C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rafik 27">
            <a:extLst>
              <a:ext uri="{FF2B5EF4-FFF2-40B4-BE49-F238E27FC236}">
                <a16:creationId xmlns:a16="http://schemas.microsoft.com/office/drawing/2014/main" id="{BA4ACD1B-FEBB-4055-A876-B64A59450F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38047" y="1748664"/>
            <a:ext cx="4936200" cy="454152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CCC7ACC-83DD-DD4D-502E-B272EF5E52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konzept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3AA9B3C-0469-D37B-0410-C38D3A0384D8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Schritt 1 und 2: </a:t>
            </a:r>
            <a:r>
              <a:rPr lang="de-DE" sz="2400">
                <a:cs typeface="Arial"/>
              </a:rPr>
              <a:t>Drehteller-Aufbau</a:t>
            </a:r>
          </a:p>
          <a:p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12ACD4-74C0-5ADB-91CA-8FE181AE956B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25. Jun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2D1D42C-B8EC-CF7B-4F9D-7DAF52DAA986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18</a:t>
            </a:fld>
            <a:endParaRPr lang="de-DE"/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74A6FA67-CC1E-481B-B55A-6719832A9DE1}"/>
              </a:ext>
            </a:extLst>
          </p:cNvPr>
          <p:cNvCxnSpPr>
            <a:cxnSpLocks/>
            <a:stCxn id="21" idx="2"/>
          </p:cNvCxnSpPr>
          <p:nvPr/>
        </p:nvCxnSpPr>
        <p:spPr>
          <a:xfrm>
            <a:off x="3484569" y="3413590"/>
            <a:ext cx="2728662" cy="113228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4A7FCCD5-DE17-419F-90A3-6438D7817FB3}"/>
              </a:ext>
            </a:extLst>
          </p:cNvPr>
          <p:cNvCxnSpPr>
            <a:cxnSpLocks/>
            <a:stCxn id="21" idx="2"/>
          </p:cNvCxnSpPr>
          <p:nvPr/>
        </p:nvCxnSpPr>
        <p:spPr>
          <a:xfrm>
            <a:off x="3484569" y="3413590"/>
            <a:ext cx="2871097" cy="592790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EE140B32-3A93-4659-A919-42A41733EDB5}"/>
              </a:ext>
            </a:extLst>
          </p:cNvPr>
          <p:cNvSpPr txBox="1"/>
          <p:nvPr/>
        </p:nvSpPr>
        <p:spPr>
          <a:xfrm>
            <a:off x="2549377" y="2798037"/>
            <a:ext cx="187038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Schrägrollenlager</a:t>
            </a:r>
            <a:b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(O-Anordnung)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D6844B8F-1318-4C0F-923C-C09346E4E589}"/>
              </a:ext>
            </a:extLst>
          </p:cNvPr>
          <p:cNvSpPr txBox="1"/>
          <p:nvPr/>
        </p:nvSpPr>
        <p:spPr>
          <a:xfrm>
            <a:off x="2800431" y="1787271"/>
            <a:ext cx="113928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Drehplatte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62EF21E8-A551-41A6-BD84-F01E464819D2}"/>
              </a:ext>
            </a:extLst>
          </p:cNvPr>
          <p:cNvCxnSpPr>
            <a:cxnSpLocks/>
            <a:stCxn id="31" idx="2"/>
          </p:cNvCxnSpPr>
          <p:nvPr/>
        </p:nvCxnSpPr>
        <p:spPr>
          <a:xfrm>
            <a:off x="3370076" y="2095048"/>
            <a:ext cx="1288198" cy="195760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5357408D-A15F-4F11-A011-8A86FF4455A8}"/>
              </a:ext>
            </a:extLst>
          </p:cNvPr>
          <p:cNvSpPr txBox="1"/>
          <p:nvPr/>
        </p:nvSpPr>
        <p:spPr>
          <a:xfrm>
            <a:off x="7564073" y="1208547"/>
            <a:ext cx="200664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Schraube + Unterlegscheibe</a:t>
            </a:r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080DC246-5E16-4ED8-91C3-69E42F8D06EB}"/>
              </a:ext>
            </a:extLst>
          </p:cNvPr>
          <p:cNvCxnSpPr>
            <a:cxnSpLocks/>
            <a:stCxn id="36" idx="2"/>
          </p:cNvCxnSpPr>
          <p:nvPr/>
        </p:nvCxnSpPr>
        <p:spPr>
          <a:xfrm flipH="1">
            <a:off x="7269481" y="1824100"/>
            <a:ext cx="1297916" cy="239660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BA5D21A7-18B2-4349-B595-FBB35A95312D}"/>
              </a:ext>
            </a:extLst>
          </p:cNvPr>
          <p:cNvCxnSpPr>
            <a:cxnSpLocks/>
            <a:stCxn id="36" idx="2"/>
          </p:cNvCxnSpPr>
          <p:nvPr/>
        </p:nvCxnSpPr>
        <p:spPr>
          <a:xfrm flipH="1">
            <a:off x="7329489" y="1824100"/>
            <a:ext cx="1237908" cy="328550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3FA2EF11-CC34-42EB-9AC3-AD20EA0D6ECB}"/>
              </a:ext>
            </a:extLst>
          </p:cNvPr>
          <p:cNvSpPr txBox="1"/>
          <p:nvPr/>
        </p:nvSpPr>
        <p:spPr>
          <a:xfrm>
            <a:off x="3149670" y="4349602"/>
            <a:ext cx="6697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Welle</a:t>
            </a:r>
          </a:p>
        </p:txBody>
      </p: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0B029505-4BE5-4CE4-A406-72D082BBBB12}"/>
              </a:ext>
            </a:extLst>
          </p:cNvPr>
          <p:cNvCxnSpPr>
            <a:cxnSpLocks/>
            <a:stCxn id="45" idx="3"/>
          </p:cNvCxnSpPr>
          <p:nvPr/>
        </p:nvCxnSpPr>
        <p:spPr>
          <a:xfrm>
            <a:off x="3819467" y="4503491"/>
            <a:ext cx="2893948" cy="146109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>
            <a:extLst>
              <a:ext uri="{FF2B5EF4-FFF2-40B4-BE49-F238E27FC236}">
                <a16:creationId xmlns:a16="http://schemas.microsoft.com/office/drawing/2014/main" id="{0C463C97-7621-494C-9844-ECDAFA159BC7}"/>
              </a:ext>
            </a:extLst>
          </p:cNvPr>
          <p:cNvSpPr txBox="1"/>
          <p:nvPr/>
        </p:nvSpPr>
        <p:spPr>
          <a:xfrm>
            <a:off x="2308374" y="5172386"/>
            <a:ext cx="187038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Halterung für Lagerung + Motor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ECEC5FD7-01AD-4A1B-BCA7-9E19FC5ABB92}"/>
              </a:ext>
            </a:extLst>
          </p:cNvPr>
          <p:cNvCxnSpPr>
            <a:cxnSpLocks/>
            <a:stCxn id="50" idx="3"/>
          </p:cNvCxnSpPr>
          <p:nvPr/>
        </p:nvCxnSpPr>
        <p:spPr>
          <a:xfrm>
            <a:off x="4178757" y="5480163"/>
            <a:ext cx="1588997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feld 54">
            <a:extLst>
              <a:ext uri="{FF2B5EF4-FFF2-40B4-BE49-F238E27FC236}">
                <a16:creationId xmlns:a16="http://schemas.microsoft.com/office/drawing/2014/main" id="{4EA91DAD-14C3-4811-9C2A-2DED5BB73FCA}"/>
              </a:ext>
            </a:extLst>
          </p:cNvPr>
          <p:cNvSpPr txBox="1"/>
          <p:nvPr/>
        </p:nvSpPr>
        <p:spPr>
          <a:xfrm>
            <a:off x="9787482" y="5471603"/>
            <a:ext cx="133381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Schrittmotor</a:t>
            </a: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B13724C-548F-40BC-A075-5D0FA8C7FD09}"/>
              </a:ext>
            </a:extLst>
          </p:cNvPr>
          <p:cNvCxnSpPr>
            <a:cxnSpLocks/>
            <a:stCxn id="55" idx="1"/>
          </p:cNvCxnSpPr>
          <p:nvPr/>
        </p:nvCxnSpPr>
        <p:spPr>
          <a:xfrm flipH="1">
            <a:off x="7780835" y="5625492"/>
            <a:ext cx="2006647" cy="153888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feld 58">
            <a:extLst>
              <a:ext uri="{FF2B5EF4-FFF2-40B4-BE49-F238E27FC236}">
                <a16:creationId xmlns:a16="http://schemas.microsoft.com/office/drawing/2014/main" id="{1A87F983-D103-4D14-8089-CFA1788A8974}"/>
              </a:ext>
            </a:extLst>
          </p:cNvPr>
          <p:cNvSpPr txBox="1"/>
          <p:nvPr/>
        </p:nvSpPr>
        <p:spPr>
          <a:xfrm>
            <a:off x="9491392" y="3338351"/>
            <a:ext cx="16299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800"/>
              </a:spcAft>
            </a:pPr>
            <a:r>
              <a:rPr lang="de-DE" sz="2000">
                <a:solidFill>
                  <a:srgbClr val="000000"/>
                </a:solidFill>
              </a:rPr>
              <a:t>Lagergehäuse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51404012-42EE-4737-AE0F-2283B248F9DE}"/>
              </a:ext>
            </a:extLst>
          </p:cNvPr>
          <p:cNvCxnSpPr>
            <a:cxnSpLocks/>
            <a:stCxn id="59" idx="1"/>
          </p:cNvCxnSpPr>
          <p:nvPr/>
        </p:nvCxnSpPr>
        <p:spPr>
          <a:xfrm flipH="1">
            <a:off x="7948443" y="3492240"/>
            <a:ext cx="1542949" cy="184064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feld 62">
            <a:extLst>
              <a:ext uri="{FF2B5EF4-FFF2-40B4-BE49-F238E27FC236}">
                <a16:creationId xmlns:a16="http://schemas.microsoft.com/office/drawing/2014/main" id="{9E0B08C6-8F15-4287-9CF3-C3850575A1D2}"/>
              </a:ext>
            </a:extLst>
          </p:cNvPr>
          <p:cNvSpPr txBox="1"/>
          <p:nvPr/>
        </p:nvSpPr>
        <p:spPr>
          <a:xfrm>
            <a:off x="9491392" y="2529885"/>
            <a:ext cx="200664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Muttern + Unterlegscheibe</a:t>
            </a:r>
          </a:p>
        </p:txBody>
      </p: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6354CBA1-2822-47BF-95DE-D02ED4DE1164}"/>
              </a:ext>
            </a:extLst>
          </p:cNvPr>
          <p:cNvCxnSpPr>
            <a:cxnSpLocks/>
            <a:stCxn id="63" idx="1"/>
          </p:cNvCxnSpPr>
          <p:nvPr/>
        </p:nvCxnSpPr>
        <p:spPr>
          <a:xfrm flipH="1" flipV="1">
            <a:off x="7564073" y="2688848"/>
            <a:ext cx="1927319" cy="148814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D1D447E0-88B9-49E4-9DE9-7C85FBBCC66C}"/>
              </a:ext>
            </a:extLst>
          </p:cNvPr>
          <p:cNvCxnSpPr>
            <a:cxnSpLocks/>
            <a:stCxn id="63" idx="1"/>
          </p:cNvCxnSpPr>
          <p:nvPr/>
        </p:nvCxnSpPr>
        <p:spPr>
          <a:xfrm flipH="1">
            <a:off x="7564074" y="2837662"/>
            <a:ext cx="1927318" cy="149378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4765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31" grpId="0"/>
      <p:bldP spid="36" grpId="0"/>
      <p:bldP spid="45" grpId="0"/>
      <p:bldP spid="50" grpId="0"/>
      <p:bldP spid="55" grpId="0"/>
      <p:bldP spid="59" grpId="0"/>
      <p:bldP spid="6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12FE3C-7046-0456-CED9-197D56EA7C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CC7ACC-83DD-DD4D-502E-B272EF5E52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konzept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3AA9B3C-0469-D37B-0410-C38D3A0384D8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Schritt 1 und 2: </a:t>
            </a:r>
            <a:r>
              <a:rPr lang="de-DE" sz="2400">
                <a:cs typeface="Arial"/>
              </a:rPr>
              <a:t>Hubmagnet-Aufbau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12ACD4-74C0-5ADB-91CA-8FE181AE956B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25. Jun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2D1D42C-B8EC-CF7B-4F9D-7DAF52DAA986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714EC29-4C7F-4B97-80B7-F630C1FB192D}"/>
              </a:ext>
            </a:extLst>
          </p:cNvPr>
          <p:cNvSpPr txBox="1"/>
          <p:nvPr/>
        </p:nvSpPr>
        <p:spPr>
          <a:xfrm>
            <a:off x="6857999" y="6137691"/>
            <a:ext cx="87344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Verkabelung verhindert eine 360°-Drehung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82700E10-48EB-4619-BA2C-482F26923B8B}"/>
              </a:ext>
            </a:extLst>
          </p:cNvPr>
          <p:cNvGrpSpPr/>
          <p:nvPr/>
        </p:nvGrpSpPr>
        <p:grpSpPr>
          <a:xfrm>
            <a:off x="1685924" y="2599184"/>
            <a:ext cx="8140153" cy="3328722"/>
            <a:chOff x="994957" y="1632180"/>
            <a:chExt cx="10364646" cy="4238375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67326263-0028-4124-A3D4-E4847B2A73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94957" y="2221971"/>
              <a:ext cx="10364646" cy="3648584"/>
            </a:xfrm>
            <a:prstGeom prst="rect">
              <a:avLst/>
            </a:prstGeom>
          </p:spPr>
        </p:pic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284BDEE8-E6F4-4F07-B2A5-B8552D862B38}"/>
                </a:ext>
              </a:extLst>
            </p:cNvPr>
            <p:cNvSpPr/>
            <p:nvPr/>
          </p:nvSpPr>
          <p:spPr>
            <a:xfrm>
              <a:off x="5594747" y="1632180"/>
              <a:ext cx="1679575" cy="1597462"/>
            </a:xfrm>
            <a:prstGeom prst="rect">
              <a:avLst/>
            </a:prstGeom>
            <a:solidFill>
              <a:srgbClr val="FECB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11" name="Rechteck: abgerundete Ecken 10">
              <a:extLst>
                <a:ext uri="{FF2B5EF4-FFF2-40B4-BE49-F238E27FC236}">
                  <a16:creationId xmlns:a16="http://schemas.microsoft.com/office/drawing/2014/main" id="{C570BED0-CF7E-49A5-A034-A7DF69694931}"/>
                </a:ext>
              </a:extLst>
            </p:cNvPr>
            <p:cNvSpPr/>
            <p:nvPr/>
          </p:nvSpPr>
          <p:spPr>
            <a:xfrm>
              <a:off x="6017132" y="1867664"/>
              <a:ext cx="834807" cy="1901752"/>
            </a:xfrm>
            <a:prstGeom prst="roundRect">
              <a:avLst/>
            </a:prstGeom>
            <a:solidFill>
              <a:srgbClr val="7F7F7F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3E3017AB-B093-4094-A1A6-FD732A2C1230}"/>
                </a:ext>
              </a:extLst>
            </p:cNvPr>
            <p:cNvSpPr/>
            <p:nvPr/>
          </p:nvSpPr>
          <p:spPr>
            <a:xfrm>
              <a:off x="5629204" y="4236964"/>
              <a:ext cx="5663653" cy="200427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C37858A4-C14E-46E7-BF4B-DEAF6EECA699}"/>
                </a:ext>
              </a:extLst>
            </p:cNvPr>
            <p:cNvCxnSpPr>
              <a:cxnSpLocks/>
            </p:cNvCxnSpPr>
            <p:nvPr/>
          </p:nvCxnSpPr>
          <p:spPr>
            <a:xfrm>
              <a:off x="6425803" y="3588474"/>
              <a:ext cx="0" cy="457789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triangle" w="med" len="lg"/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8D589A6A-B200-4CF0-B879-B21249805E12}"/>
                </a:ext>
              </a:extLst>
            </p:cNvPr>
            <p:cNvSpPr/>
            <p:nvPr/>
          </p:nvSpPr>
          <p:spPr>
            <a:xfrm>
              <a:off x="5629204" y="4065974"/>
              <a:ext cx="5663653" cy="200427"/>
            </a:xfrm>
            <a:prstGeom prst="rect">
              <a:avLst/>
            </a:prstGeom>
            <a:solidFill>
              <a:srgbClr val="BCBCBC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F05FC774-BE5A-453F-BB48-81DA15B41F90}"/>
                </a:ext>
              </a:extLst>
            </p:cNvPr>
            <p:cNvSpPr/>
            <p:nvPr/>
          </p:nvSpPr>
          <p:spPr>
            <a:xfrm>
              <a:off x="5155624" y="1936043"/>
              <a:ext cx="422375" cy="198197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830990FB-A2CD-4C49-A63B-7DF8B2D55A3A}"/>
                </a:ext>
              </a:extLst>
            </p:cNvPr>
            <p:cNvSpPr/>
            <p:nvPr/>
          </p:nvSpPr>
          <p:spPr>
            <a:xfrm rot="16200000">
              <a:off x="4641800" y="3073412"/>
              <a:ext cx="422375" cy="1266825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endParaRPr>
            </a:p>
          </p:txBody>
        </p: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380C3E2D-A464-473E-B9E7-413F9CA9F16F}"/>
              </a:ext>
            </a:extLst>
          </p:cNvPr>
          <p:cNvSpPr txBox="1"/>
          <p:nvPr/>
        </p:nvSpPr>
        <p:spPr>
          <a:xfrm>
            <a:off x="8934563" y="3077279"/>
            <a:ext cx="131909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Hubmagnet</a:t>
            </a:r>
          </a:p>
        </p:txBody>
      </p: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C0412106-74B2-4A82-90B2-354A2975E5EF}"/>
              </a:ext>
            </a:extLst>
          </p:cNvPr>
          <p:cNvCxnSpPr>
            <a:cxnSpLocks/>
            <a:stCxn id="19" idx="1"/>
            <a:endCxn id="8" idx="3"/>
          </p:cNvCxnSpPr>
          <p:nvPr/>
        </p:nvCxnSpPr>
        <p:spPr>
          <a:xfrm flipH="1" flipV="1">
            <a:off x="6617592" y="3226489"/>
            <a:ext cx="2316971" cy="4679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DCA8A957-1FA8-4C7F-8996-6C8E9D67F4B7}"/>
              </a:ext>
            </a:extLst>
          </p:cNvPr>
          <p:cNvCxnSpPr>
            <a:cxnSpLocks/>
            <a:stCxn id="19" idx="1"/>
            <a:endCxn id="11" idx="3"/>
          </p:cNvCxnSpPr>
          <p:nvPr/>
        </p:nvCxnSpPr>
        <p:spPr>
          <a:xfrm flipH="1">
            <a:off x="6285862" y="3231168"/>
            <a:ext cx="2648701" cy="299756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feld 51">
            <a:extLst>
              <a:ext uri="{FF2B5EF4-FFF2-40B4-BE49-F238E27FC236}">
                <a16:creationId xmlns:a16="http://schemas.microsoft.com/office/drawing/2014/main" id="{9CDE50F7-4ADC-454F-92BA-4D300834583C}"/>
              </a:ext>
            </a:extLst>
          </p:cNvPr>
          <p:cNvSpPr txBox="1"/>
          <p:nvPr/>
        </p:nvSpPr>
        <p:spPr>
          <a:xfrm>
            <a:off x="4294066" y="1207544"/>
            <a:ext cx="131909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Halterung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F470548C-3F39-441D-A0FC-790251D905B9}"/>
              </a:ext>
            </a:extLst>
          </p:cNvPr>
          <p:cNvCxnSpPr>
            <a:cxnSpLocks/>
            <a:stCxn id="52" idx="2"/>
            <a:endCxn id="17" idx="0"/>
          </p:cNvCxnSpPr>
          <p:nvPr/>
        </p:nvCxnSpPr>
        <p:spPr>
          <a:xfrm>
            <a:off x="4953616" y="1515321"/>
            <a:ext cx="165862" cy="1322510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>
            <a:extLst>
              <a:ext uri="{FF2B5EF4-FFF2-40B4-BE49-F238E27FC236}">
                <a16:creationId xmlns:a16="http://schemas.microsoft.com/office/drawing/2014/main" id="{DC70B4C0-A48D-49C0-87D2-02A786D599E9}"/>
              </a:ext>
            </a:extLst>
          </p:cNvPr>
          <p:cNvSpPr txBox="1"/>
          <p:nvPr/>
        </p:nvSpPr>
        <p:spPr>
          <a:xfrm>
            <a:off x="9597754" y="5219740"/>
            <a:ext cx="110901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Ober- und Unterseite</a:t>
            </a:r>
          </a:p>
        </p:txBody>
      </p: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411FE524-6F9A-4DBD-9307-6BD087E56223}"/>
              </a:ext>
            </a:extLst>
          </p:cNvPr>
          <p:cNvCxnSpPr>
            <a:cxnSpLocks/>
            <a:stCxn id="57" idx="0"/>
          </p:cNvCxnSpPr>
          <p:nvPr/>
        </p:nvCxnSpPr>
        <p:spPr>
          <a:xfrm flipH="1" flipV="1">
            <a:off x="9773656" y="4672514"/>
            <a:ext cx="378606" cy="547226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79D05C2-6755-95DB-11F3-B1BB0A26EF2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8016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56" name="Gerader Verbinder 655">
            <a:extLst>
              <a:ext uri="{FF2B5EF4-FFF2-40B4-BE49-F238E27FC236}">
                <a16:creationId xmlns:a16="http://schemas.microsoft.com/office/drawing/2014/main" id="{8AEF7234-8B73-95BC-3551-9DF1CCE70E9D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18319" y="5240401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5" name="Gerader Verbinder 654">
            <a:extLst>
              <a:ext uri="{FF2B5EF4-FFF2-40B4-BE49-F238E27FC236}">
                <a16:creationId xmlns:a16="http://schemas.microsoft.com/office/drawing/2014/main" id="{70FC0239-FE5B-94C2-DB13-A654285812F7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518319" y="5965849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4" name="Rechteck 653">
            <a:hlinkClick r:id="rId24" action="ppaction://hlinksldjump"/>
            <a:extLst>
              <a:ext uri="{FF2B5EF4-FFF2-40B4-BE49-F238E27FC236}">
                <a16:creationId xmlns:a16="http://schemas.microsoft.com/office/drawing/2014/main" id="{97E2B884-2D28-CE00-D4E9-C48E3628E8F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87032" y="5326126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Diskussion</a:t>
            </a:r>
          </a:p>
        </p:txBody>
      </p:sp>
      <p:sp>
        <p:nvSpPr>
          <p:cNvPr id="653" name="Rechteck 652">
            <a:hlinkClick r:id="rId24" action="ppaction://hlinksldjump"/>
            <a:extLst>
              <a:ext uri="{FF2B5EF4-FFF2-40B4-BE49-F238E27FC236}">
                <a16:creationId xmlns:a16="http://schemas.microsoft.com/office/drawing/2014/main" id="{0C46B89C-E1E8-E0D6-3120-6A724D93DD8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8319" y="5326126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</p:txBody>
      </p:sp>
      <p:cxnSp>
        <p:nvCxnSpPr>
          <p:cNvPr id="652" name="Gerader Verbinder 651">
            <a:extLst>
              <a:ext uri="{FF2B5EF4-FFF2-40B4-BE49-F238E27FC236}">
                <a16:creationId xmlns:a16="http://schemas.microsoft.com/office/drawing/2014/main" id="{4662FB33-2514-C621-1C8E-8EDC4F995485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18319" y="4514953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1" name="Rechteck 650">
            <a:hlinkClick r:id="rId25" action="ppaction://hlinksldjump"/>
            <a:extLst>
              <a:ext uri="{FF2B5EF4-FFF2-40B4-BE49-F238E27FC236}">
                <a16:creationId xmlns:a16="http://schemas.microsoft.com/office/drawing/2014/main" id="{A9DC67A8-C3B8-8257-E624-EDFAF690475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87032" y="4600678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>
                <a:solidFill>
                  <a:schemeClr val="tx1"/>
                </a:solidFill>
              </a:rPr>
              <a:t>Projektmanagement</a:t>
            </a:r>
            <a:endParaRPr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650" name="Rechteck 649">
            <a:hlinkClick r:id="rId25" action="ppaction://hlinksldjump"/>
            <a:extLst>
              <a:ext uri="{FF2B5EF4-FFF2-40B4-BE49-F238E27FC236}">
                <a16:creationId xmlns:a16="http://schemas.microsoft.com/office/drawing/2014/main" id="{BC0FDE1A-0603-6F29-2DB9-AAFD733D550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8319" y="4600678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5</a:t>
            </a:r>
          </a:p>
        </p:txBody>
      </p:sp>
      <p:cxnSp>
        <p:nvCxnSpPr>
          <p:cNvPr id="649" name="Gerader Verbinder 648">
            <a:extLst>
              <a:ext uri="{FF2B5EF4-FFF2-40B4-BE49-F238E27FC236}">
                <a16:creationId xmlns:a16="http://schemas.microsoft.com/office/drawing/2014/main" id="{B0BCC586-3E67-5595-4A56-AD1E75CCEAF2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18319" y="3789506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8" name="Rechteck 647">
            <a:hlinkClick r:id="rId26" action="ppaction://hlinksldjump"/>
            <a:extLst>
              <a:ext uri="{FF2B5EF4-FFF2-40B4-BE49-F238E27FC236}">
                <a16:creationId xmlns:a16="http://schemas.microsoft.com/office/drawing/2014/main" id="{BBAC7757-1FFD-E2DC-ED30-10851862F5A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287032" y="3875231"/>
            <a:ext cx="3337452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Steuerung und Elektrische Struktur</a:t>
            </a:r>
          </a:p>
        </p:txBody>
      </p:sp>
      <p:sp>
        <p:nvSpPr>
          <p:cNvPr id="647" name="Rechteck 646">
            <a:hlinkClick r:id="rId26" action="ppaction://hlinksldjump"/>
            <a:extLst>
              <a:ext uri="{FF2B5EF4-FFF2-40B4-BE49-F238E27FC236}">
                <a16:creationId xmlns:a16="http://schemas.microsoft.com/office/drawing/2014/main" id="{3B4CE62A-3C04-ED8E-4117-D5A9B747AD3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8319" y="3875231"/>
            <a:ext cx="583200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</a:p>
        </p:txBody>
      </p:sp>
      <p:cxnSp>
        <p:nvCxnSpPr>
          <p:cNvPr id="646" name="Gerader Verbinder 645">
            <a:extLst>
              <a:ext uri="{FF2B5EF4-FFF2-40B4-BE49-F238E27FC236}">
                <a16:creationId xmlns:a16="http://schemas.microsoft.com/office/drawing/2014/main" id="{A88690F8-2067-283A-DB28-C0AD0F1AB0E8}"/>
              </a:ext>
            </a:extLst>
          </p:cNvPr>
          <p:cNvCxnSpPr/>
          <p:nvPr>
            <p:custDataLst>
              <p:tags r:id="rId12"/>
            </p:custDataLst>
          </p:nvPr>
        </p:nvCxnSpPr>
        <p:spPr>
          <a:xfrm>
            <a:off x="518319" y="3064058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5" name="Rechteck 644">
            <a:hlinkClick r:id="rId27" action="ppaction://hlinksldjump"/>
            <a:extLst>
              <a:ext uri="{FF2B5EF4-FFF2-40B4-BE49-F238E27FC236}">
                <a16:creationId xmlns:a16="http://schemas.microsoft.com/office/drawing/2014/main" id="{07EAC01C-8423-0782-4765-4491E85C8EC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287032" y="3149783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Risiko der Montageeinrichtung</a:t>
            </a:r>
          </a:p>
        </p:txBody>
      </p:sp>
      <p:sp>
        <p:nvSpPr>
          <p:cNvPr id="644" name="Rechteck 643">
            <a:hlinkClick r:id="rId27" action="ppaction://hlinksldjump"/>
            <a:extLst>
              <a:ext uri="{FF2B5EF4-FFF2-40B4-BE49-F238E27FC236}">
                <a16:creationId xmlns:a16="http://schemas.microsoft.com/office/drawing/2014/main" id="{DFF9F9A3-AF24-C8AD-3A65-78122E23EC32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8319" y="3149783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</a:p>
        </p:txBody>
      </p:sp>
      <p:cxnSp>
        <p:nvCxnSpPr>
          <p:cNvPr id="643" name="Gerader Verbinder 642">
            <a:extLst>
              <a:ext uri="{FF2B5EF4-FFF2-40B4-BE49-F238E27FC236}">
                <a16:creationId xmlns:a16="http://schemas.microsoft.com/office/drawing/2014/main" id="{E5283BF0-9A34-B20F-9D9C-3A4EF1623D36}"/>
              </a:ext>
            </a:extLst>
          </p:cNvPr>
          <p:cNvCxnSpPr/>
          <p:nvPr>
            <p:custDataLst>
              <p:tags r:id="rId15"/>
            </p:custDataLst>
          </p:nvPr>
        </p:nvCxnSpPr>
        <p:spPr>
          <a:xfrm>
            <a:off x="518319" y="2338610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2" name="Rechteck 641">
            <a:hlinkClick r:id="rId28" action="ppaction://hlinksldjump"/>
            <a:extLst>
              <a:ext uri="{FF2B5EF4-FFF2-40B4-BE49-F238E27FC236}">
                <a16:creationId xmlns:a16="http://schemas.microsoft.com/office/drawing/2014/main" id="{644BCB15-2DBB-B3DF-CF52-C8E9741682A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87032" y="2424335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Montagekonzept</a:t>
            </a:r>
          </a:p>
        </p:txBody>
      </p:sp>
      <p:sp>
        <p:nvSpPr>
          <p:cNvPr id="641" name="Rechteck 640">
            <a:hlinkClick r:id="rId28" action="ppaction://hlinksldjump"/>
            <a:extLst>
              <a:ext uri="{FF2B5EF4-FFF2-40B4-BE49-F238E27FC236}">
                <a16:creationId xmlns:a16="http://schemas.microsoft.com/office/drawing/2014/main" id="{6DF70B92-3E57-BCA6-2845-6846CE67C86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8319" y="2424335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</a:p>
        </p:txBody>
      </p:sp>
      <p:cxnSp>
        <p:nvCxnSpPr>
          <p:cNvPr id="640" name="Gerader Verbinder 639">
            <a:extLst>
              <a:ext uri="{FF2B5EF4-FFF2-40B4-BE49-F238E27FC236}">
                <a16:creationId xmlns:a16="http://schemas.microsoft.com/office/drawing/2014/main" id="{39D0612F-93D0-15C9-F270-DC7CAA9FBE81}"/>
              </a:ext>
            </a:extLst>
          </p:cNvPr>
          <p:cNvCxnSpPr/>
          <p:nvPr>
            <p:custDataLst>
              <p:tags r:id="rId18"/>
            </p:custDataLst>
          </p:nvPr>
        </p:nvCxnSpPr>
        <p:spPr>
          <a:xfrm>
            <a:off x="518319" y="1613162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>
            <a:hlinkClick r:id="rId29" action="ppaction://hlinksldjump"/>
            <a:extLst>
              <a:ext uri="{FF2B5EF4-FFF2-40B4-BE49-F238E27FC236}">
                <a16:creationId xmlns:a16="http://schemas.microsoft.com/office/drawing/2014/main" id="{4B33A7E3-CD6B-1D47-D385-F5697DB39079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287032" y="1698887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Werbegeschenk</a:t>
            </a:r>
          </a:p>
        </p:txBody>
      </p:sp>
      <p:sp>
        <p:nvSpPr>
          <p:cNvPr id="637" name="Rechteck 636">
            <a:hlinkClick r:id="rId29" action="ppaction://hlinksldjump"/>
            <a:extLst>
              <a:ext uri="{FF2B5EF4-FFF2-40B4-BE49-F238E27FC236}">
                <a16:creationId xmlns:a16="http://schemas.microsoft.com/office/drawing/2014/main" id="{F7AB7BEA-EAED-6667-17BE-CE1655CA09FE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8319" y="1698887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</a:p>
        </p:txBody>
      </p:sp>
      <p:sp>
        <p:nvSpPr>
          <p:cNvPr id="684" name="Titel 683">
            <a:extLst>
              <a:ext uri="{FF2B5EF4-FFF2-40B4-BE49-F238E27FC236}">
                <a16:creationId xmlns:a16="http://schemas.microsoft.com/office/drawing/2014/main" id="{98AB8393-D7AE-903E-219A-985654B3575F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726E945E-91B7-B869-529E-6F3B5800A111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8" name="Datumsplatzhalter 637">
            <a:extLst>
              <a:ext uri="{FF2B5EF4-FFF2-40B4-BE49-F238E27FC236}">
                <a16:creationId xmlns:a16="http://schemas.microsoft.com/office/drawing/2014/main" id="{CA5E931E-801F-5FFB-D189-50D785EB2CC3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3BB66AA5-4B7C-2F44-5823-118EA5A5E1CD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>
          <a:xfrm>
            <a:off x="5629204" y="6579170"/>
            <a:ext cx="387928" cy="230832"/>
          </a:xfrm>
        </p:spPr>
        <p:txBody>
          <a:bodyPr/>
          <a:lstStyle/>
          <a:p>
            <a:fld id="{C6A4AD45-2621-4550-9DC5-4911F1B5FA4D}" type="slidenum">
              <a:rPr lang="de-DE" smtClean="0"/>
              <a:pPr/>
              <a:t>2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96476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70AF39-55AD-2C14-E75D-BB1A45A4C3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1AB5FA-1DFE-F54C-62D4-4EABD5820F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konzept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B316DD-EDF2-D1E4-74A9-FB2DCB51E29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Schritt 3: Überziehen des Gummibands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8C712AD-49C7-7D09-2F01-0EB7CAE31639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25. Jun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5BF511-497B-C3B3-43A5-E84236025E3B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20</a:t>
            </a:fld>
            <a:endParaRPr lang="de-D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60CE480E-7C36-2A6E-FFFB-96D94D1C27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4694" y="1414973"/>
            <a:ext cx="5716948" cy="4991204"/>
          </a:xfrm>
          <a:prstGeom prst="rect">
            <a:avLst/>
          </a:prstGeom>
        </p:spPr>
      </p:pic>
      <p:sp>
        <p:nvSpPr>
          <p:cNvPr id="16" name="Pfeil: nach rechts gekrümmt 15">
            <a:extLst>
              <a:ext uri="{FF2B5EF4-FFF2-40B4-BE49-F238E27FC236}">
                <a16:creationId xmlns:a16="http://schemas.microsoft.com/office/drawing/2014/main" id="{A4437D83-4FCC-F50D-A3DD-027BBA9C9A52}"/>
              </a:ext>
            </a:extLst>
          </p:cNvPr>
          <p:cNvSpPr/>
          <p:nvPr/>
        </p:nvSpPr>
        <p:spPr>
          <a:xfrm rot="21435618">
            <a:off x="5017724" y="4799744"/>
            <a:ext cx="308513" cy="651028"/>
          </a:xfrm>
          <a:prstGeom prst="curvedRightArrow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8" name="Pfeil: nach unten gekrümmt 17">
            <a:extLst>
              <a:ext uri="{FF2B5EF4-FFF2-40B4-BE49-F238E27FC236}">
                <a16:creationId xmlns:a16="http://schemas.microsoft.com/office/drawing/2014/main" id="{D6B91461-A85A-A308-CB7C-6CF300D7AE4A}"/>
              </a:ext>
            </a:extLst>
          </p:cNvPr>
          <p:cNvSpPr/>
          <p:nvPr/>
        </p:nvSpPr>
        <p:spPr>
          <a:xfrm rot="10800000">
            <a:off x="5751367" y="4405875"/>
            <a:ext cx="840176" cy="297180"/>
          </a:xfrm>
          <a:prstGeom prst="curvedDownArrow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9" name="Pfeil: nach unten gekrümmt 18">
            <a:extLst>
              <a:ext uri="{FF2B5EF4-FFF2-40B4-BE49-F238E27FC236}">
                <a16:creationId xmlns:a16="http://schemas.microsoft.com/office/drawing/2014/main" id="{8ABD9DC7-8AAB-90B8-D3B8-3768D719C69D}"/>
              </a:ext>
            </a:extLst>
          </p:cNvPr>
          <p:cNvSpPr/>
          <p:nvPr/>
        </p:nvSpPr>
        <p:spPr>
          <a:xfrm rot="16200000">
            <a:off x="4334047" y="2691375"/>
            <a:ext cx="840176" cy="297180"/>
          </a:xfrm>
          <a:prstGeom prst="curvedDownArrow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0" name="Pfeil: nach unten gekrümmt 19">
            <a:extLst>
              <a:ext uri="{FF2B5EF4-FFF2-40B4-BE49-F238E27FC236}">
                <a16:creationId xmlns:a16="http://schemas.microsoft.com/office/drawing/2014/main" id="{F7BF2082-070F-707B-7320-6802DA75051E}"/>
              </a:ext>
            </a:extLst>
          </p:cNvPr>
          <p:cNvSpPr/>
          <p:nvPr/>
        </p:nvSpPr>
        <p:spPr>
          <a:xfrm rot="19658025">
            <a:off x="6110281" y="1557210"/>
            <a:ext cx="840176" cy="297180"/>
          </a:xfrm>
          <a:prstGeom prst="curvedDownArrow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1" name="Pfeil: nach rechts gekrümmt 20">
            <a:extLst>
              <a:ext uri="{FF2B5EF4-FFF2-40B4-BE49-F238E27FC236}">
                <a16:creationId xmlns:a16="http://schemas.microsoft.com/office/drawing/2014/main" id="{AD5ED30E-2D0F-24B0-BCA4-8EF742DAF207}"/>
              </a:ext>
            </a:extLst>
          </p:cNvPr>
          <p:cNvSpPr/>
          <p:nvPr/>
        </p:nvSpPr>
        <p:spPr>
          <a:xfrm rot="21435618">
            <a:off x="5772104" y="1571156"/>
            <a:ext cx="308513" cy="651028"/>
          </a:xfrm>
          <a:prstGeom prst="curvedRightArrow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C4F026FB-3496-63E3-4527-1BEC8A2E28BC}"/>
              </a:ext>
            </a:extLst>
          </p:cNvPr>
          <p:cNvSpPr/>
          <p:nvPr/>
        </p:nvSpPr>
        <p:spPr>
          <a:xfrm>
            <a:off x="4416924" y="4848259"/>
            <a:ext cx="585417" cy="55399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l-GR" sz="3000" b="0" i="0">
                <a:solidFill>
                  <a:srgbClr val="1F1F1F"/>
                </a:solidFill>
                <a:effectLst/>
                <a:latin typeface="Google Sans"/>
              </a:rPr>
              <a:t>θ</a:t>
            </a:r>
            <a:r>
              <a:rPr lang="de-DE" sz="3000" b="0" i="0">
                <a:solidFill>
                  <a:srgbClr val="1F1F1F"/>
                </a:solidFill>
                <a:effectLst/>
                <a:latin typeface="Google Sans"/>
              </a:rPr>
              <a:t>1</a:t>
            </a:r>
            <a:endParaRPr lang="de-DE" sz="3000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4E5A8DC-ABC4-D9F8-99B1-75337B0F5C76}"/>
              </a:ext>
            </a:extLst>
          </p:cNvPr>
          <p:cNvSpPr/>
          <p:nvPr/>
        </p:nvSpPr>
        <p:spPr>
          <a:xfrm>
            <a:off x="6454571" y="4405875"/>
            <a:ext cx="585417" cy="55399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l-GR" sz="3000" b="0" i="0">
                <a:solidFill>
                  <a:srgbClr val="1F1F1F"/>
                </a:solidFill>
                <a:effectLst/>
                <a:latin typeface="Google Sans"/>
              </a:rPr>
              <a:t>θ</a:t>
            </a:r>
            <a:r>
              <a:rPr lang="de-DE" sz="3000">
                <a:solidFill>
                  <a:srgbClr val="1F1F1F"/>
                </a:solidFill>
                <a:latin typeface="Google Sans"/>
              </a:rPr>
              <a:t>2</a:t>
            </a:r>
            <a:endParaRPr lang="de-DE" sz="3000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0D21697B-D9AC-C643-E7A5-985D6F839BD1}"/>
              </a:ext>
            </a:extLst>
          </p:cNvPr>
          <p:cNvSpPr/>
          <p:nvPr/>
        </p:nvSpPr>
        <p:spPr>
          <a:xfrm>
            <a:off x="4020128" y="2621459"/>
            <a:ext cx="585417" cy="55399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l-GR" sz="3000" b="0" i="0">
                <a:solidFill>
                  <a:srgbClr val="1F1F1F"/>
                </a:solidFill>
                <a:effectLst/>
                <a:latin typeface="Google Sans"/>
              </a:rPr>
              <a:t>θ</a:t>
            </a:r>
            <a:r>
              <a:rPr lang="de-DE" sz="3000">
                <a:solidFill>
                  <a:srgbClr val="1F1F1F"/>
                </a:solidFill>
                <a:latin typeface="Google Sans"/>
              </a:rPr>
              <a:t>3</a:t>
            </a:r>
            <a:endParaRPr lang="de-DE" sz="3000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BC98D9A-6271-0010-179D-F191025C9270}"/>
              </a:ext>
            </a:extLst>
          </p:cNvPr>
          <p:cNvSpPr/>
          <p:nvPr/>
        </p:nvSpPr>
        <p:spPr>
          <a:xfrm>
            <a:off x="5215290" y="1453861"/>
            <a:ext cx="585417" cy="55399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l-GR" sz="3000" b="0" i="0">
                <a:solidFill>
                  <a:srgbClr val="1F1F1F"/>
                </a:solidFill>
                <a:effectLst/>
                <a:latin typeface="Google Sans"/>
              </a:rPr>
              <a:t>θ</a:t>
            </a:r>
            <a:r>
              <a:rPr lang="de-DE" sz="3000" b="0" i="0">
                <a:solidFill>
                  <a:srgbClr val="1F1F1F"/>
                </a:solidFill>
                <a:effectLst/>
                <a:latin typeface="Google Sans"/>
              </a:rPr>
              <a:t>5</a:t>
            </a:r>
            <a:endParaRPr lang="de-DE" sz="3000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42F0E4BC-CAA3-0EB3-EE8E-D25E52EDEB7C}"/>
              </a:ext>
            </a:extLst>
          </p:cNvPr>
          <p:cNvSpPr/>
          <p:nvPr/>
        </p:nvSpPr>
        <p:spPr>
          <a:xfrm>
            <a:off x="6366450" y="1004883"/>
            <a:ext cx="585417" cy="55399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l-GR" sz="3000" b="0" i="0">
                <a:solidFill>
                  <a:srgbClr val="1F1F1F"/>
                </a:solidFill>
                <a:effectLst/>
                <a:latin typeface="Google Sans"/>
              </a:rPr>
              <a:t>θ</a:t>
            </a:r>
            <a:r>
              <a:rPr lang="de-DE" sz="3000">
                <a:solidFill>
                  <a:srgbClr val="1F1F1F"/>
                </a:solidFill>
                <a:latin typeface="Google Sans"/>
              </a:rPr>
              <a:t>4</a:t>
            </a:r>
            <a:endParaRPr lang="de-DE" sz="3000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217434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2EA0CA-9287-C27F-5E83-8AF29AA346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989609-6722-3020-52B5-DB4C0CCDB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konzept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035451-9297-E29D-2829-119EA28BF7CF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Schritt 3: Roboterarm Inverse </a:t>
            </a:r>
            <a:r>
              <a:rPr lang="de-DE" err="1">
                <a:cs typeface="Arial"/>
              </a:rPr>
              <a:t>Kinematic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64F03A5-AA6D-46A9-D3B6-892378DFD10D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25. Jun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468EB53-130B-91D3-0C59-DC97E1581FD2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21</a:t>
            </a:fld>
            <a:endParaRPr lang="de-DE"/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0A36BFF9-84C8-5976-0417-AF2707CB7C75}"/>
              </a:ext>
            </a:extLst>
          </p:cNvPr>
          <p:cNvCxnSpPr/>
          <p:nvPr/>
        </p:nvCxnSpPr>
        <p:spPr>
          <a:xfrm flipH="1" flipV="1">
            <a:off x="2240078" y="2851990"/>
            <a:ext cx="4020" cy="869182"/>
          </a:xfrm>
          <a:prstGeom prst="straightConnector1">
            <a:avLst/>
          </a:prstGeom>
          <a:ln w="57150">
            <a:solidFill>
              <a:srgbClr val="E93D5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C652A67B-CE86-9130-F392-9936CB1F871E}"/>
              </a:ext>
            </a:extLst>
          </p:cNvPr>
          <p:cNvCxnSpPr>
            <a:cxnSpLocks/>
          </p:cNvCxnSpPr>
          <p:nvPr/>
        </p:nvCxnSpPr>
        <p:spPr>
          <a:xfrm>
            <a:off x="2252471" y="3712797"/>
            <a:ext cx="858463" cy="2344"/>
          </a:xfrm>
          <a:prstGeom prst="straightConnector1">
            <a:avLst/>
          </a:prstGeom>
          <a:ln w="57150">
            <a:solidFill>
              <a:srgbClr val="E93D5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02E487C2-CB04-1A5B-BA88-D6BADF08CDFF}"/>
              </a:ext>
            </a:extLst>
          </p:cNvPr>
          <p:cNvCxnSpPr>
            <a:cxnSpLocks/>
          </p:cNvCxnSpPr>
          <p:nvPr/>
        </p:nvCxnSpPr>
        <p:spPr>
          <a:xfrm flipH="1">
            <a:off x="1771155" y="3696049"/>
            <a:ext cx="481315" cy="512466"/>
          </a:xfrm>
          <a:prstGeom prst="straightConnector1">
            <a:avLst/>
          </a:prstGeom>
          <a:ln w="57150">
            <a:solidFill>
              <a:srgbClr val="E93D5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1AB69D6A-743F-5D06-497E-0AD21972989E}"/>
              </a:ext>
            </a:extLst>
          </p:cNvPr>
          <p:cNvSpPr txBox="1"/>
          <p:nvPr/>
        </p:nvSpPr>
        <p:spPr>
          <a:xfrm>
            <a:off x="2446961" y="2695786"/>
            <a:ext cx="348867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>
                <a:solidFill>
                  <a:srgbClr val="E2001A"/>
                </a:solidFill>
                <a:latin typeface="ZEISS Frutiger Next W1G"/>
              </a:rPr>
              <a:t>z</a:t>
            </a:r>
            <a:endParaRPr lang="de-DE" sz="2000" b="0" i="0" u="none" strike="noStrike" kern="1200" cap="none" spc="0" normalizeH="0" baseline="0" noProof="0">
              <a:ln>
                <a:noFill/>
              </a:ln>
              <a:solidFill>
                <a:srgbClr val="E2001A"/>
              </a:solidFill>
              <a:effectLst/>
              <a:uLnTx/>
              <a:uFillTx/>
              <a:latin typeface="ZEISS Frutiger Next W1G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94049A1-4DBF-7D55-CD85-6E8AEB684F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4985" y="1379015"/>
            <a:ext cx="2676899" cy="165758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3DDE7F7A-0757-C2D9-9C42-2090C15D61AA}"/>
              </a:ext>
            </a:extLst>
          </p:cNvPr>
          <p:cNvSpPr txBox="1"/>
          <p:nvPr/>
        </p:nvSpPr>
        <p:spPr>
          <a:xfrm>
            <a:off x="2996050" y="3715311"/>
            <a:ext cx="482321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>
                <a:solidFill>
                  <a:srgbClr val="E2001A"/>
                </a:solidFill>
              </a:rPr>
              <a:t>y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DEBAC97-7944-F728-336E-54AB21F39D7B}"/>
              </a:ext>
            </a:extLst>
          </p:cNvPr>
          <p:cNvSpPr txBox="1"/>
          <p:nvPr/>
        </p:nvSpPr>
        <p:spPr>
          <a:xfrm>
            <a:off x="1957720" y="4083750"/>
            <a:ext cx="482321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>
                <a:solidFill>
                  <a:srgbClr val="E2001A"/>
                </a:solidFill>
              </a:rPr>
              <a:t>x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531AE1AD-04DC-6518-3E4A-A8224ADD7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7501" y="3379818"/>
            <a:ext cx="5891868" cy="2433860"/>
          </a:xfrm>
          <a:prstGeom prst="rect">
            <a:avLst/>
          </a:prstGeom>
        </p:spPr>
      </p:pic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CCA6BD91-9134-BC07-2290-B0490BFB00F9}"/>
              </a:ext>
            </a:extLst>
          </p:cNvPr>
          <p:cNvCxnSpPr/>
          <p:nvPr/>
        </p:nvCxnSpPr>
        <p:spPr>
          <a:xfrm>
            <a:off x="2286489" y="3721697"/>
            <a:ext cx="790474" cy="897653"/>
          </a:xfrm>
          <a:prstGeom prst="straightConnector1">
            <a:avLst/>
          </a:prstGeom>
          <a:ln w="1270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D1D31A6-F537-839F-14D1-2E8893614DB8}"/>
              </a:ext>
            </a:extLst>
          </p:cNvPr>
          <p:cNvCxnSpPr/>
          <p:nvPr/>
        </p:nvCxnSpPr>
        <p:spPr>
          <a:xfrm flipH="1">
            <a:off x="1369160" y="4217834"/>
            <a:ext cx="408632" cy="428731"/>
          </a:xfrm>
          <a:prstGeom prst="straightConnector1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EADB27B9-6B93-A172-D555-89B523E96D23}"/>
              </a:ext>
            </a:extLst>
          </p:cNvPr>
          <p:cNvCxnSpPr/>
          <p:nvPr/>
        </p:nvCxnSpPr>
        <p:spPr>
          <a:xfrm flipV="1">
            <a:off x="1342887" y="4605220"/>
            <a:ext cx="1827124" cy="23444"/>
          </a:xfrm>
          <a:prstGeom prst="straightConnector1">
            <a:avLst/>
          </a:prstGeom>
          <a:ln>
            <a:solidFill>
              <a:srgbClr val="7F7F7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Bogen 23">
            <a:extLst>
              <a:ext uri="{FF2B5EF4-FFF2-40B4-BE49-F238E27FC236}">
                <a16:creationId xmlns:a16="http://schemas.microsoft.com/office/drawing/2014/main" id="{BBC01485-20A3-AE71-D2DA-A7B6388CA7A5}"/>
              </a:ext>
            </a:extLst>
          </p:cNvPr>
          <p:cNvSpPr/>
          <p:nvPr/>
        </p:nvSpPr>
        <p:spPr>
          <a:xfrm>
            <a:off x="1343410" y="4428221"/>
            <a:ext cx="395236" cy="478972"/>
          </a:xfrm>
          <a:prstGeom prst="arc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C0DEF5F5-4243-197A-A183-F4DB6D12BF1A}"/>
              </a:ext>
            </a:extLst>
          </p:cNvPr>
          <p:cNvSpPr/>
          <p:nvPr/>
        </p:nvSpPr>
        <p:spPr>
          <a:xfrm>
            <a:off x="1553275" y="4537601"/>
            <a:ext cx="51917" cy="43544"/>
          </a:xfrm>
          <a:prstGeom prst="ellipse">
            <a:avLst/>
          </a:prstGeom>
          <a:solidFill>
            <a:srgbClr val="7D8990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94DBCBE8-9FDD-571B-A155-5B005766F4CD}"/>
              </a:ext>
            </a:extLst>
          </p:cNvPr>
          <p:cNvCxnSpPr/>
          <p:nvPr/>
        </p:nvCxnSpPr>
        <p:spPr>
          <a:xfrm>
            <a:off x="3102918" y="3709134"/>
            <a:ext cx="855785" cy="1676"/>
          </a:xfrm>
          <a:prstGeom prst="straightConnector1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BDB20A7-76D2-B020-A405-0EA1F98F1189}"/>
              </a:ext>
            </a:extLst>
          </p:cNvPr>
          <p:cNvCxnSpPr>
            <a:cxnSpLocks/>
          </p:cNvCxnSpPr>
          <p:nvPr/>
        </p:nvCxnSpPr>
        <p:spPr>
          <a:xfrm flipH="1">
            <a:off x="3035513" y="3698668"/>
            <a:ext cx="869180" cy="947894"/>
          </a:xfrm>
          <a:prstGeom prst="straightConnector1">
            <a:avLst/>
          </a:prstGeom>
          <a:ln>
            <a:solidFill>
              <a:srgbClr val="7F7F7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Bogen 19">
            <a:extLst>
              <a:ext uri="{FF2B5EF4-FFF2-40B4-BE49-F238E27FC236}">
                <a16:creationId xmlns:a16="http://schemas.microsoft.com/office/drawing/2014/main" id="{D474D01A-3B46-FA0B-BE5D-57E9A5C3EE9D}"/>
              </a:ext>
            </a:extLst>
          </p:cNvPr>
          <p:cNvSpPr/>
          <p:nvPr/>
        </p:nvSpPr>
        <p:spPr>
          <a:xfrm rot="11160000">
            <a:off x="3621036" y="3465254"/>
            <a:ext cx="395236" cy="478972"/>
          </a:xfrm>
          <a:prstGeom prst="arc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F1A6E4DF-2F8B-27B7-AACA-0440BA793F24}"/>
              </a:ext>
            </a:extLst>
          </p:cNvPr>
          <p:cNvSpPr/>
          <p:nvPr/>
        </p:nvSpPr>
        <p:spPr>
          <a:xfrm>
            <a:off x="3696923" y="3758853"/>
            <a:ext cx="51917" cy="43544"/>
          </a:xfrm>
          <a:prstGeom prst="ellipse">
            <a:avLst/>
          </a:prstGeom>
          <a:solidFill>
            <a:srgbClr val="7D8990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6" name="Bogen 25">
            <a:extLst>
              <a:ext uri="{FF2B5EF4-FFF2-40B4-BE49-F238E27FC236}">
                <a16:creationId xmlns:a16="http://schemas.microsoft.com/office/drawing/2014/main" id="{76572C01-B7AD-1700-E2FE-1B7BD6FAF750}"/>
              </a:ext>
            </a:extLst>
          </p:cNvPr>
          <p:cNvSpPr/>
          <p:nvPr/>
        </p:nvSpPr>
        <p:spPr>
          <a:xfrm rot="7980000">
            <a:off x="2005971" y="3514082"/>
            <a:ext cx="495720" cy="487345"/>
          </a:xfrm>
          <a:prstGeom prst="arc">
            <a:avLst/>
          </a:prstGeom>
          <a:noFill/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E2E79DB0-34F9-ED04-CA88-590939C78CE8}"/>
              </a:ext>
            </a:extLst>
          </p:cNvPr>
          <p:cNvSpPr txBox="1"/>
          <p:nvPr/>
        </p:nvSpPr>
        <p:spPr>
          <a:xfrm>
            <a:off x="721894" y="3383881"/>
            <a:ext cx="275723" cy="2406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B075126-FA54-DE43-034E-01E42AF0F8FE}"/>
              </a:ext>
            </a:extLst>
          </p:cNvPr>
          <p:cNvSpPr txBox="1"/>
          <p:nvPr/>
        </p:nvSpPr>
        <p:spPr>
          <a:xfrm>
            <a:off x="3129950" y="4696766"/>
            <a:ext cx="1132973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>
                <a:solidFill>
                  <a:srgbClr val="000000"/>
                </a:solidFill>
                <a:latin typeface="ZEISS Frutiger Next W1G"/>
              </a:rPr>
              <a:t>P(80/40/0)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43227A0B-74D5-CBAC-B3F4-46186CFA9353}"/>
              </a:ext>
            </a:extLst>
          </p:cNvPr>
          <p:cNvSpPr/>
          <p:nvPr/>
        </p:nvSpPr>
        <p:spPr>
          <a:xfrm>
            <a:off x="2899823" y="3917994"/>
            <a:ext cx="694275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l-GR">
                <a:solidFill>
                  <a:srgbClr val="1F1F1F"/>
                </a:solidFill>
                <a:latin typeface="Google Sans"/>
              </a:rPr>
              <a:t>Θ</a:t>
            </a:r>
            <a:r>
              <a:rPr lang="el-GR" baseline="-25000">
                <a:solidFill>
                  <a:srgbClr val="1F1F1F"/>
                </a:solidFill>
                <a:latin typeface="Google Sans"/>
              </a:rPr>
              <a:t>1</a:t>
            </a:r>
            <a:endParaRPr lang="el-GR" b="0" cap="none" spc="0" baseline="-25000">
              <a:solidFill>
                <a:srgbClr val="1F1F1F"/>
              </a:solidFill>
              <a:latin typeface="Google Sans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57B4BAE-7ACC-C733-0952-1C84FFB63E37}"/>
              </a:ext>
            </a:extLst>
          </p:cNvPr>
          <p:cNvSpPr/>
          <p:nvPr/>
        </p:nvSpPr>
        <p:spPr>
          <a:xfrm>
            <a:off x="2061502" y="3896973"/>
            <a:ext cx="694275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l-GR">
                <a:solidFill>
                  <a:srgbClr val="1F1F1F"/>
                </a:solidFill>
                <a:latin typeface="Google Sans"/>
              </a:rPr>
              <a:t>Θ</a:t>
            </a:r>
            <a:r>
              <a:rPr lang="el-GR" baseline="-25000">
                <a:solidFill>
                  <a:srgbClr val="1F1F1F"/>
                </a:solidFill>
                <a:latin typeface="Google Sans"/>
              </a:rPr>
              <a:t>1</a:t>
            </a:r>
            <a:endParaRPr lang="el-GR" b="0" cap="none" spc="0" baseline="-25000">
              <a:solidFill>
                <a:srgbClr val="1F1F1F"/>
              </a:solidFill>
              <a:latin typeface="Google Sans"/>
            </a:endParaRPr>
          </a:p>
        </p:txBody>
      </p:sp>
      <p:sp>
        <p:nvSpPr>
          <p:cNvPr id="34" name="Bogen 33">
            <a:extLst>
              <a:ext uri="{FF2B5EF4-FFF2-40B4-BE49-F238E27FC236}">
                <a16:creationId xmlns:a16="http://schemas.microsoft.com/office/drawing/2014/main" id="{19B91385-3C0A-3E44-5412-E108C9CC604C}"/>
              </a:ext>
            </a:extLst>
          </p:cNvPr>
          <p:cNvSpPr/>
          <p:nvPr/>
        </p:nvSpPr>
        <p:spPr>
          <a:xfrm rot="-2220000">
            <a:off x="2666873" y="4248459"/>
            <a:ext cx="688312" cy="671563"/>
          </a:xfrm>
          <a:prstGeom prst="arc">
            <a:avLst/>
          </a:prstGeom>
          <a:noFill/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12611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747C9D-5382-0EDE-F2A4-1C860D4D63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D8C527-0090-9108-4244-8DCF6F8CB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konzept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BCDAA16-6771-DCBE-1112-A25953706F3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Schritt 3: Roboterarm Inverse </a:t>
            </a:r>
            <a:r>
              <a:rPr lang="de-DE" err="1">
                <a:cs typeface="Arial"/>
              </a:rPr>
              <a:t>Kinematic</a:t>
            </a:r>
            <a:r>
              <a:rPr lang="de-DE">
                <a:cs typeface="Arial"/>
              </a:rPr>
              <a:t> - </a:t>
            </a:r>
            <a:r>
              <a:rPr lang="de-DE" err="1">
                <a:cs typeface="Arial"/>
              </a:rPr>
              <a:t>Matlab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353D629-46E6-B6E4-E760-9408C3A0AA72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25. Jun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1B570E4-DE06-F37C-ED0A-4A48956561FD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22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32B8317-9756-6037-9017-009DBC6013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190" y="2220211"/>
            <a:ext cx="5063571" cy="319504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2A04BDDE-657B-FAB5-71C4-E2477D600B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1201" y="2202692"/>
            <a:ext cx="5427605" cy="337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3556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C1497A-4FF8-CB3C-78D5-DBE1B09E9F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C28FFA-9484-173D-35F2-00783426A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Montagekonzept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5309324-4A41-DB11-D09E-A6296FD07245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Schritt 3: Roboterarm Inverse </a:t>
            </a:r>
            <a:r>
              <a:rPr lang="de-DE" err="1">
                <a:cs typeface="Arial"/>
              </a:rPr>
              <a:t>Kinematic</a:t>
            </a:r>
            <a:r>
              <a:rPr lang="de-DE">
                <a:cs typeface="Arial"/>
              </a:rPr>
              <a:t> - Ellbow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E928755-8424-AE5B-6B5B-37F32F7C8843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25. Jun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CC2E7EC-377F-14B4-BD22-8C48FF38FCB1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23</a:t>
            </a:fld>
            <a:endParaRPr lang="de-DE"/>
          </a:p>
        </p:txBody>
      </p:sp>
      <p:pic>
        <p:nvPicPr>
          <p:cNvPr id="1026" name="Picture 2" descr="Kinematic Modelling and Simulation of a 2-R Robot Using SolidWorks and  Verification by MATLAB/Simulink - Mahmoud Gouasmi, Mohammed Ouali, Brahim  Fernini, M'hamed Meghatria, 2012">
            <a:extLst>
              <a:ext uri="{FF2B5EF4-FFF2-40B4-BE49-F238E27FC236}">
                <a16:creationId xmlns:a16="http://schemas.microsoft.com/office/drawing/2014/main" id="{6D632663-6EF3-D371-8067-965126322C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8374" y="1355409"/>
            <a:ext cx="6020472" cy="4854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52201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97EDA8FB-F54C-BE3F-48FE-25BED8991C83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18319" y="5240401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CF96E272-04E0-DDFD-95F3-D130E43E39E5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518319" y="5965849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hlinkClick r:id="rId23" action="ppaction://hlinksldjump"/>
            <a:extLst>
              <a:ext uri="{FF2B5EF4-FFF2-40B4-BE49-F238E27FC236}">
                <a16:creationId xmlns:a16="http://schemas.microsoft.com/office/drawing/2014/main" id="{BEF41AB8-62C2-A82B-3BC8-AA2F5698E4D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87032" y="5326126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Diskussion</a:t>
            </a:r>
          </a:p>
        </p:txBody>
      </p:sp>
      <p:sp>
        <p:nvSpPr>
          <p:cNvPr id="57" name="Rechteck 56">
            <a:hlinkClick r:id="rId23" action="ppaction://hlinksldjump"/>
            <a:extLst>
              <a:ext uri="{FF2B5EF4-FFF2-40B4-BE49-F238E27FC236}">
                <a16:creationId xmlns:a16="http://schemas.microsoft.com/office/drawing/2014/main" id="{986B1614-25C3-BC79-9D07-7F9B9200818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8319" y="5326126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D12F166F-1243-4607-B98D-F47E915CB95A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18319" y="4514953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>
            <a:hlinkClick r:id="rId24" action="ppaction://hlinksldjump"/>
            <a:extLst>
              <a:ext uri="{FF2B5EF4-FFF2-40B4-BE49-F238E27FC236}">
                <a16:creationId xmlns:a16="http://schemas.microsoft.com/office/drawing/2014/main" id="{E720E307-4783-37A3-D590-7CB3F1E0659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87032" y="4600678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>
                <a:solidFill>
                  <a:schemeClr val="tx1"/>
                </a:solidFill>
              </a:rPr>
              <a:t>Projektmanagement</a:t>
            </a:r>
            <a:endParaRPr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54" name="Rechteck 53">
            <a:hlinkClick r:id="rId24" action="ppaction://hlinksldjump"/>
            <a:extLst>
              <a:ext uri="{FF2B5EF4-FFF2-40B4-BE49-F238E27FC236}">
                <a16:creationId xmlns:a16="http://schemas.microsoft.com/office/drawing/2014/main" id="{CB1ABD25-967C-DEB3-415B-E806D86559A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8319" y="4600678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5</a:t>
            </a:r>
          </a:p>
        </p:txBody>
      </p: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5171FDAC-1A4F-AB85-1E60-E04D46C37A11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18319" y="3789506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hlinkClick r:id="rId25" action="ppaction://hlinksldjump"/>
            <a:extLst>
              <a:ext uri="{FF2B5EF4-FFF2-40B4-BE49-F238E27FC236}">
                <a16:creationId xmlns:a16="http://schemas.microsoft.com/office/drawing/2014/main" id="{A4B44106-A95A-B467-0C4C-FAED44CE56A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287032" y="3875231"/>
            <a:ext cx="3337452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Steuerung und Elektrische Struktur</a:t>
            </a:r>
          </a:p>
        </p:txBody>
      </p:sp>
      <p:sp>
        <p:nvSpPr>
          <p:cNvPr id="51" name="Rechteck 50">
            <a:hlinkClick r:id="rId25" action="ppaction://hlinksldjump"/>
            <a:extLst>
              <a:ext uri="{FF2B5EF4-FFF2-40B4-BE49-F238E27FC236}">
                <a16:creationId xmlns:a16="http://schemas.microsoft.com/office/drawing/2014/main" id="{F92548FE-40F2-2888-6A3E-D049F3B85A5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8319" y="3875231"/>
            <a:ext cx="583200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76B97040-A197-6A75-9AAF-F5CE49F8FF71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0" y="3064058"/>
            <a:ext cx="12192000" cy="741323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Rechteck 48">
            <a:hlinkClick r:id="rId26" action="ppaction://hlinksldjump"/>
            <a:extLst>
              <a:ext uri="{FF2B5EF4-FFF2-40B4-BE49-F238E27FC236}">
                <a16:creationId xmlns:a16="http://schemas.microsoft.com/office/drawing/2014/main" id="{7F350F53-6520-D29C-1F3C-23537E03B88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287032" y="3149783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Risiko der Montageeinrichtung</a:t>
            </a:r>
          </a:p>
        </p:txBody>
      </p:sp>
      <p:sp>
        <p:nvSpPr>
          <p:cNvPr id="48" name="Rechteck 47">
            <a:hlinkClick r:id="rId26" action="ppaction://hlinksldjump"/>
            <a:extLst>
              <a:ext uri="{FF2B5EF4-FFF2-40B4-BE49-F238E27FC236}">
                <a16:creationId xmlns:a16="http://schemas.microsoft.com/office/drawing/2014/main" id="{56BD6335-BA4A-AA22-C629-A49DBE05D62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8319" y="3149783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F5084E76-57EE-D45B-37FF-17AD290A6067}"/>
              </a:ext>
            </a:extLst>
          </p:cNvPr>
          <p:cNvCxnSpPr/>
          <p:nvPr>
            <p:custDataLst>
              <p:tags r:id="rId15"/>
            </p:custDataLst>
          </p:nvPr>
        </p:nvCxnSpPr>
        <p:spPr>
          <a:xfrm>
            <a:off x="518319" y="2338610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hlinkClick r:id="rId27" action="ppaction://hlinksldjump"/>
            <a:extLst>
              <a:ext uri="{FF2B5EF4-FFF2-40B4-BE49-F238E27FC236}">
                <a16:creationId xmlns:a16="http://schemas.microsoft.com/office/drawing/2014/main" id="{A41C5CC5-B26A-EFC9-7F7E-E5E4E0A9DE4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87032" y="2424335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Montagekonzept</a:t>
            </a:r>
          </a:p>
        </p:txBody>
      </p:sp>
      <p:sp>
        <p:nvSpPr>
          <p:cNvPr id="45" name="Rechteck 44">
            <a:hlinkClick r:id="rId27" action="ppaction://hlinksldjump"/>
            <a:extLst>
              <a:ext uri="{FF2B5EF4-FFF2-40B4-BE49-F238E27FC236}">
                <a16:creationId xmlns:a16="http://schemas.microsoft.com/office/drawing/2014/main" id="{8F8A7DF6-F678-BFFE-2CE3-BA9CB743AA9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8319" y="2424335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</a:p>
        </p:txBody>
      </p: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6AD59AAD-4D90-2183-5FBF-FC1980623940}"/>
              </a:ext>
            </a:extLst>
          </p:cNvPr>
          <p:cNvCxnSpPr/>
          <p:nvPr>
            <p:custDataLst>
              <p:tags r:id="rId18"/>
            </p:custDataLst>
          </p:nvPr>
        </p:nvCxnSpPr>
        <p:spPr>
          <a:xfrm>
            <a:off x="518319" y="1613162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hlinkClick r:id="rId28" action="ppaction://hlinksldjump"/>
            <a:extLst>
              <a:ext uri="{FF2B5EF4-FFF2-40B4-BE49-F238E27FC236}">
                <a16:creationId xmlns:a16="http://schemas.microsoft.com/office/drawing/2014/main" id="{BF102943-815C-626A-ADAA-474CE19A104A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287032" y="1698887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Werbegeschenk</a:t>
            </a:r>
          </a:p>
        </p:txBody>
      </p:sp>
      <p:sp>
        <p:nvSpPr>
          <p:cNvPr id="42" name="Rechteck 41">
            <a:hlinkClick r:id="rId28" action="ppaction://hlinksldjump"/>
            <a:extLst>
              <a:ext uri="{FF2B5EF4-FFF2-40B4-BE49-F238E27FC236}">
                <a16:creationId xmlns:a16="http://schemas.microsoft.com/office/drawing/2014/main" id="{1FD540E9-1AF7-8A61-4179-2EF0D667F92A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8319" y="1698887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9905472E-00D3-BBE1-E70E-635FDFF450D0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B9DDCB5F-CA86-CF7E-78BF-2FD2A6445840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6798DE78-A0F4-9B6A-0CD0-B72252E69B36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24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638318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70D616-D355-4734-BB51-98BCE84E54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isiken der Montageeinricht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144FFC8-DE29-4341-806C-C7A4DC54F14A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/>
              <a:t>Plan B: ohne Roboterar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BB38448-5B67-4D8C-ADF9-5998D9C8A4CF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25</a:t>
            </a:fld>
            <a:endParaRPr lang="de-DE"/>
          </a:p>
        </p:txBody>
      </p:sp>
      <p:pic>
        <p:nvPicPr>
          <p:cNvPr id="5" name="Grafik 4" descr="Ein Bild, das Entwurf, Zeichnung, Diagramm, Design enthält.&#10;&#10;KI-generierte Inhalte können fehlerhaft sein.">
            <a:extLst>
              <a:ext uri="{FF2B5EF4-FFF2-40B4-BE49-F238E27FC236}">
                <a16:creationId xmlns:a16="http://schemas.microsoft.com/office/drawing/2014/main" id="{B8B31BE6-5D11-5CE2-4218-C1C9F18B7F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0613" y="1358640"/>
            <a:ext cx="8474597" cy="465193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12612594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24204F-EAF9-B93F-98B0-AEBF955CCA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C094DF-A186-A5AD-FC8D-BE5304A9B9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isiken der Montageeinricht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E995090-A6D1-7577-A1B0-F07E1B9A9039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Plan C: ohne Gummiband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59B1E86-DF37-20F4-F99C-E952BC3BB165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26</a:t>
            </a:fld>
            <a:endParaRPr lang="de-DE"/>
          </a:p>
        </p:txBody>
      </p:sp>
      <p:pic>
        <p:nvPicPr>
          <p:cNvPr id="7" name="Grafik 6" descr="Ein Bild, das Entwurf, Zeichnung, Reihe, Rechteck enthält.&#10;&#10;KI-generierte Inhalte können fehlerhaft sein.">
            <a:extLst>
              <a:ext uri="{FF2B5EF4-FFF2-40B4-BE49-F238E27FC236}">
                <a16:creationId xmlns:a16="http://schemas.microsoft.com/office/drawing/2014/main" id="{7EC7A606-EF2A-C3A9-1770-D78266903BE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943" r="645" b="472"/>
          <a:stretch/>
        </p:blipFill>
        <p:spPr>
          <a:xfrm>
            <a:off x="1454324" y="1740341"/>
            <a:ext cx="1687887" cy="22905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Grafik 7" descr="Ein Bild, das Entwurf, Design enthält.&#10;&#10;KI-generierte Inhalte können fehlerhaft sein.">
            <a:extLst>
              <a:ext uri="{FF2B5EF4-FFF2-40B4-BE49-F238E27FC236}">
                <a16:creationId xmlns:a16="http://schemas.microsoft.com/office/drawing/2014/main" id="{B8D2D719-DED0-2D5C-D142-6AC2B3857F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0404" y="1415405"/>
            <a:ext cx="6200775" cy="442912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18230966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59B414-E3DD-FDB8-3973-748AB23F7C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isiken der Montageeinricht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C1280C7-703A-57A3-E338-0D022E3313F5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FMEA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1E9124A-8F06-5423-F8D5-39657EB65DD7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3823075D-91E6-43EC-89B5-724042DC203F}" type="datetime4">
              <a:rPr lang="de-DE" smtClean="0"/>
              <a:t>25. Juni 2025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04C6B4-07F3-3D0B-3F69-0A456447624A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D288ABF8-46DC-E62D-7AD6-9A0F9A110BD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18319" y="1732421"/>
            <a:ext cx="11160000" cy="4464000"/>
          </a:xfrm>
        </p:spPr>
        <p:txBody>
          <a:bodyPr/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de-DE" sz="2000">
                <a:cs typeface="Arial"/>
              </a:rPr>
              <a:t>Ausschub des Ober- und Unterteils</a:t>
            </a:r>
            <a:endParaRPr lang="de-DE" sz="2000"/>
          </a:p>
          <a:p>
            <a:pPr marL="636905" lvl="1" indent="-179705">
              <a:buFont typeface="Arial" panose="020B0604020202020204" pitchFamily="34" charset="0"/>
              <a:buChar char="•"/>
            </a:pPr>
            <a:r>
              <a:rPr lang="de-DE" sz="1800">
                <a:cs typeface="Arial"/>
              </a:rPr>
              <a:t>Platte kann nicht ausgeschoben werden, weil Drehteller verdreht steht</a:t>
            </a:r>
            <a:endParaRPr lang="de-DE"/>
          </a:p>
          <a:p>
            <a:pPr marL="922655" lvl="2" indent="-285750">
              <a:buFont typeface="Wingdings" panose="020B0604020202020204" pitchFamily="34" charset="0"/>
              <a:buChar char="Ø"/>
            </a:pPr>
            <a:r>
              <a:rPr lang="de-DE" sz="1800">
                <a:cs typeface="Arial"/>
              </a:rPr>
              <a:t>Überwachung im Programm, sodass der Einschub neu versucht werden kann</a:t>
            </a:r>
            <a:endParaRPr lang="de-DE" sz="180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>
              <a:latin typeface="Arial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>
                <a:cs typeface="Arial"/>
              </a:rPr>
              <a:t>Gummiband auf die Platten schieben</a:t>
            </a:r>
            <a:endParaRPr lang="de-DE" sz="2000"/>
          </a:p>
          <a:p>
            <a:pPr marL="522605" lvl="1" indent="-179705">
              <a:buFont typeface="Arial" panose="020B0604020202020204" pitchFamily="34" charset="0"/>
              <a:buChar char="•"/>
            </a:pPr>
            <a:r>
              <a:rPr lang="de-DE" sz="1800">
                <a:cs typeface="Arial"/>
              </a:rPr>
              <a:t>Gummiband bleibt am Magazin hängen</a:t>
            </a:r>
            <a:endParaRPr lang="de-DE"/>
          </a:p>
          <a:p>
            <a:pPr marL="808355" lvl="2" indent="-285750">
              <a:buFont typeface="Wingdings" panose="020B0604020202020204" pitchFamily="34" charset="0"/>
              <a:buChar char="Ø"/>
            </a:pPr>
            <a:r>
              <a:rPr lang="de-DE" sz="1800">
                <a:cs typeface="Arial"/>
              </a:rPr>
              <a:t>Testen und ggf. Oberflächennachbehandlung</a:t>
            </a:r>
            <a:endParaRPr lang="de-DE" sz="180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>
              <a:latin typeface="Arial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>
                <a:cs typeface="Arial"/>
              </a:rPr>
              <a:t>Sicherheitsfunktion</a:t>
            </a:r>
          </a:p>
          <a:p>
            <a:pPr marL="522605" lvl="1" indent="-179705">
              <a:buFont typeface="Arial" panose="020B0604020202020204" pitchFamily="34" charset="0"/>
              <a:buChar char="•"/>
            </a:pPr>
            <a:r>
              <a:rPr lang="de-DE" sz="1800">
                <a:cs typeface="Arial"/>
              </a:rPr>
              <a:t>Eingreifen in den Montageprozess durch Ausgabefach möglich</a:t>
            </a:r>
            <a:endParaRPr lang="de-DE"/>
          </a:p>
          <a:p>
            <a:pPr marL="702310" lvl="2" indent="-179705">
              <a:buFont typeface="Wingdings" panose="020B0604020202020204" pitchFamily="34" charset="0"/>
              <a:buChar char="Ø"/>
            </a:pPr>
            <a:r>
              <a:rPr lang="de-DE" sz="1800">
                <a:cs typeface="Arial"/>
              </a:rPr>
              <a:t>4-Augen-Prinzip, zur Absicherung</a:t>
            </a:r>
            <a:endParaRPr lang="de-DE" sz="180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000" b="1"/>
          </a:p>
        </p:txBody>
      </p:sp>
    </p:spTree>
    <p:extLst>
      <p:ext uri="{BB962C8B-B14F-4D97-AF65-F5344CB8AC3E}">
        <p14:creationId xmlns:p14="http://schemas.microsoft.com/office/powerpoint/2010/main" val="5816524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53D5BC38-E23F-32F3-61D0-BF0873826BB4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18319" y="5240401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71C8C37E-C5A8-E436-8702-F98F66AD8A5B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518319" y="5965849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hlinkClick r:id="rId23" action="ppaction://hlinksldjump"/>
            <a:extLst>
              <a:ext uri="{FF2B5EF4-FFF2-40B4-BE49-F238E27FC236}">
                <a16:creationId xmlns:a16="http://schemas.microsoft.com/office/drawing/2014/main" id="{C08412DF-6F5B-4F65-4D3C-292FB430269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87032" y="5326126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Diskussion</a:t>
            </a:r>
          </a:p>
        </p:txBody>
      </p:sp>
      <p:sp>
        <p:nvSpPr>
          <p:cNvPr id="57" name="Rechteck 56">
            <a:hlinkClick r:id="rId23" action="ppaction://hlinksldjump"/>
            <a:extLst>
              <a:ext uri="{FF2B5EF4-FFF2-40B4-BE49-F238E27FC236}">
                <a16:creationId xmlns:a16="http://schemas.microsoft.com/office/drawing/2014/main" id="{5814672E-0BCC-60C8-AC07-41A0451270D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8319" y="5326126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EA4EDF8F-E604-0381-EDD9-00CC8956E6E4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18319" y="4514953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>
            <a:hlinkClick r:id="rId24" action="ppaction://hlinksldjump"/>
            <a:extLst>
              <a:ext uri="{FF2B5EF4-FFF2-40B4-BE49-F238E27FC236}">
                <a16:creationId xmlns:a16="http://schemas.microsoft.com/office/drawing/2014/main" id="{C372FAB1-9F20-4F55-DFD5-D753AF426AB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87032" y="4600678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>
                <a:solidFill>
                  <a:schemeClr val="tx1"/>
                </a:solidFill>
              </a:rPr>
              <a:t>Projektmanagement</a:t>
            </a:r>
            <a:endParaRPr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54" name="Rechteck 53">
            <a:hlinkClick r:id="rId24" action="ppaction://hlinksldjump"/>
            <a:extLst>
              <a:ext uri="{FF2B5EF4-FFF2-40B4-BE49-F238E27FC236}">
                <a16:creationId xmlns:a16="http://schemas.microsoft.com/office/drawing/2014/main" id="{BEB9EEBA-272E-08B8-25C4-AD8E7D09D22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8319" y="4600678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5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B59F429-7704-DD05-1C1E-F4B1F09413D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3789506"/>
            <a:ext cx="12192000" cy="741322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Rechteck 51">
            <a:hlinkClick r:id="rId25" action="ppaction://hlinksldjump"/>
            <a:extLst>
              <a:ext uri="{FF2B5EF4-FFF2-40B4-BE49-F238E27FC236}">
                <a16:creationId xmlns:a16="http://schemas.microsoft.com/office/drawing/2014/main" id="{AF312665-206E-6AB8-2D5C-757CAE10801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287032" y="3875231"/>
            <a:ext cx="3337452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Steuerung und Elektrische Struktur</a:t>
            </a:r>
          </a:p>
        </p:txBody>
      </p:sp>
      <p:sp>
        <p:nvSpPr>
          <p:cNvPr id="51" name="Rechteck 50">
            <a:hlinkClick r:id="rId25" action="ppaction://hlinksldjump"/>
            <a:extLst>
              <a:ext uri="{FF2B5EF4-FFF2-40B4-BE49-F238E27FC236}">
                <a16:creationId xmlns:a16="http://schemas.microsoft.com/office/drawing/2014/main" id="{5AAC00C5-A058-DBAC-52AF-F47DED5EE9A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8319" y="3875231"/>
            <a:ext cx="583200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53CDE9D1-8DFF-CB89-BF94-E391577D057C}"/>
              </a:ext>
            </a:extLst>
          </p:cNvPr>
          <p:cNvCxnSpPr/>
          <p:nvPr>
            <p:custDataLst>
              <p:tags r:id="rId12"/>
            </p:custDataLst>
          </p:nvPr>
        </p:nvCxnSpPr>
        <p:spPr>
          <a:xfrm>
            <a:off x="518319" y="3064058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>
            <a:hlinkClick r:id="rId26" action="ppaction://hlinksldjump"/>
            <a:extLst>
              <a:ext uri="{FF2B5EF4-FFF2-40B4-BE49-F238E27FC236}">
                <a16:creationId xmlns:a16="http://schemas.microsoft.com/office/drawing/2014/main" id="{63139552-408E-6CD6-24F5-80582CE7FC4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287032" y="3149783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Risiko der Montageeinrichtung</a:t>
            </a:r>
          </a:p>
        </p:txBody>
      </p:sp>
      <p:sp>
        <p:nvSpPr>
          <p:cNvPr id="48" name="Rechteck 47">
            <a:hlinkClick r:id="rId26" action="ppaction://hlinksldjump"/>
            <a:extLst>
              <a:ext uri="{FF2B5EF4-FFF2-40B4-BE49-F238E27FC236}">
                <a16:creationId xmlns:a16="http://schemas.microsoft.com/office/drawing/2014/main" id="{188021C5-445C-272C-521E-B9C7A8073A1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8319" y="3149783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110B7447-0509-561F-4853-AF2FC5BC6911}"/>
              </a:ext>
            </a:extLst>
          </p:cNvPr>
          <p:cNvCxnSpPr/>
          <p:nvPr>
            <p:custDataLst>
              <p:tags r:id="rId15"/>
            </p:custDataLst>
          </p:nvPr>
        </p:nvCxnSpPr>
        <p:spPr>
          <a:xfrm>
            <a:off x="518319" y="2338610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hlinkClick r:id="rId27" action="ppaction://hlinksldjump"/>
            <a:extLst>
              <a:ext uri="{FF2B5EF4-FFF2-40B4-BE49-F238E27FC236}">
                <a16:creationId xmlns:a16="http://schemas.microsoft.com/office/drawing/2014/main" id="{6E371A12-661A-1031-DFDB-44525AF26405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87032" y="2424335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Montagekonzept</a:t>
            </a:r>
          </a:p>
        </p:txBody>
      </p:sp>
      <p:sp>
        <p:nvSpPr>
          <p:cNvPr id="45" name="Rechteck 44">
            <a:hlinkClick r:id="rId27" action="ppaction://hlinksldjump"/>
            <a:extLst>
              <a:ext uri="{FF2B5EF4-FFF2-40B4-BE49-F238E27FC236}">
                <a16:creationId xmlns:a16="http://schemas.microsoft.com/office/drawing/2014/main" id="{3BEC6AED-E851-758F-D1D3-2740AFDA4B09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8319" y="2424335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</a:p>
        </p:txBody>
      </p: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0C37BBFA-5F94-8256-0957-F27EBC40BBDB}"/>
              </a:ext>
            </a:extLst>
          </p:cNvPr>
          <p:cNvCxnSpPr/>
          <p:nvPr>
            <p:custDataLst>
              <p:tags r:id="rId18"/>
            </p:custDataLst>
          </p:nvPr>
        </p:nvCxnSpPr>
        <p:spPr>
          <a:xfrm>
            <a:off x="518319" y="1613162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hlinkClick r:id="rId28" action="ppaction://hlinksldjump"/>
            <a:extLst>
              <a:ext uri="{FF2B5EF4-FFF2-40B4-BE49-F238E27FC236}">
                <a16:creationId xmlns:a16="http://schemas.microsoft.com/office/drawing/2014/main" id="{76FFC49B-703A-4933-2D56-97A2F151A040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287032" y="1698887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Werbegeschenk</a:t>
            </a:r>
          </a:p>
        </p:txBody>
      </p:sp>
      <p:sp>
        <p:nvSpPr>
          <p:cNvPr id="42" name="Rechteck 41">
            <a:hlinkClick r:id="rId28" action="ppaction://hlinksldjump"/>
            <a:extLst>
              <a:ext uri="{FF2B5EF4-FFF2-40B4-BE49-F238E27FC236}">
                <a16:creationId xmlns:a16="http://schemas.microsoft.com/office/drawing/2014/main" id="{A2821A02-E72B-46A0-A6CA-57AAD748206F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8319" y="1698887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2ED0EF44-5221-DAF4-80C4-D7EC43BB1CA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B7410AE5-3DCD-3EED-5239-3284634487F4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7AC283A6-1F72-9F4A-4805-E91EE087913D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28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98699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4358A22D-582F-467A-AD1C-A4E2A578F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lektrische Struktur und Steuerung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E009228E-F4A7-4DAA-A2CE-4E0625D1626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/>
              <a:t>Master-Slave Prinzip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6D4E6C93-C73F-4F81-93A2-81D5185EE092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932F0AEB-E978-4481-9EAD-595EF88BCCE2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29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71ABC4A-9F68-078B-FB2D-615723FF83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6700"/>
          <a:stretch/>
        </p:blipFill>
        <p:spPr>
          <a:xfrm>
            <a:off x="1304529" y="1298748"/>
            <a:ext cx="9582942" cy="4916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6188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DC4E11CE-7963-ACD3-5C65-0D3A1DA4978E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18319" y="5240401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D64D388C-5E1D-8715-4ABE-286702392482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518319" y="5965849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hlinkClick r:id="rId23" action="ppaction://hlinksldjump"/>
            <a:extLst>
              <a:ext uri="{FF2B5EF4-FFF2-40B4-BE49-F238E27FC236}">
                <a16:creationId xmlns:a16="http://schemas.microsoft.com/office/drawing/2014/main" id="{41EC3707-4EA1-842C-9257-62A44AA00D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87032" y="5326126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Diskussion</a:t>
            </a:r>
          </a:p>
        </p:txBody>
      </p:sp>
      <p:sp>
        <p:nvSpPr>
          <p:cNvPr id="57" name="Rechteck 56">
            <a:hlinkClick r:id="rId23" action="ppaction://hlinksldjump"/>
            <a:extLst>
              <a:ext uri="{FF2B5EF4-FFF2-40B4-BE49-F238E27FC236}">
                <a16:creationId xmlns:a16="http://schemas.microsoft.com/office/drawing/2014/main" id="{87AF96A5-8F33-82B3-C9F9-C3899C4155F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8319" y="5326126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75E8443F-8326-B40A-0361-345371748CC9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18319" y="4514953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>
            <a:hlinkClick r:id="rId24" action="ppaction://hlinksldjump"/>
            <a:extLst>
              <a:ext uri="{FF2B5EF4-FFF2-40B4-BE49-F238E27FC236}">
                <a16:creationId xmlns:a16="http://schemas.microsoft.com/office/drawing/2014/main" id="{19DE45C8-CACE-B2CE-64F1-BA3CB5DF732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87032" y="4600678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>
                <a:solidFill>
                  <a:schemeClr val="tx1"/>
                </a:solidFill>
              </a:rPr>
              <a:t>Projektmanagement</a:t>
            </a:r>
            <a:endParaRPr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54" name="Rechteck 53">
            <a:hlinkClick r:id="rId24" action="ppaction://hlinksldjump"/>
            <a:extLst>
              <a:ext uri="{FF2B5EF4-FFF2-40B4-BE49-F238E27FC236}">
                <a16:creationId xmlns:a16="http://schemas.microsoft.com/office/drawing/2014/main" id="{C6B5C4BD-8937-D1F3-FDE2-BC608893E07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8319" y="4600678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5</a:t>
            </a:r>
          </a:p>
        </p:txBody>
      </p: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9ECD1421-2F8D-0EA2-7DA6-1E04B53D863B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18319" y="3789506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hlinkClick r:id="rId25" action="ppaction://hlinksldjump"/>
            <a:extLst>
              <a:ext uri="{FF2B5EF4-FFF2-40B4-BE49-F238E27FC236}">
                <a16:creationId xmlns:a16="http://schemas.microsoft.com/office/drawing/2014/main" id="{484AC8FC-FC6B-30CB-47D8-698117DCB47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287032" y="3875231"/>
            <a:ext cx="3337452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Steuerung und Elektrische Struktur</a:t>
            </a:r>
          </a:p>
        </p:txBody>
      </p:sp>
      <p:sp>
        <p:nvSpPr>
          <p:cNvPr id="51" name="Rechteck 50">
            <a:hlinkClick r:id="rId25" action="ppaction://hlinksldjump"/>
            <a:extLst>
              <a:ext uri="{FF2B5EF4-FFF2-40B4-BE49-F238E27FC236}">
                <a16:creationId xmlns:a16="http://schemas.microsoft.com/office/drawing/2014/main" id="{5C999293-D4AB-A960-7E87-F40ADDB6155A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8319" y="3875231"/>
            <a:ext cx="583200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84DDE3B4-1BAA-E1D2-4431-6A75F33509B7}"/>
              </a:ext>
            </a:extLst>
          </p:cNvPr>
          <p:cNvCxnSpPr/>
          <p:nvPr>
            <p:custDataLst>
              <p:tags r:id="rId12"/>
            </p:custDataLst>
          </p:nvPr>
        </p:nvCxnSpPr>
        <p:spPr>
          <a:xfrm>
            <a:off x="518319" y="3064058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>
            <a:hlinkClick r:id="rId26" action="ppaction://hlinksldjump"/>
            <a:extLst>
              <a:ext uri="{FF2B5EF4-FFF2-40B4-BE49-F238E27FC236}">
                <a16:creationId xmlns:a16="http://schemas.microsoft.com/office/drawing/2014/main" id="{EA4C1E76-FE18-499B-6F76-DB63CA52056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287032" y="3149783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Risiko der Montageeinrichtung</a:t>
            </a:r>
          </a:p>
        </p:txBody>
      </p:sp>
      <p:sp>
        <p:nvSpPr>
          <p:cNvPr id="48" name="Rechteck 47">
            <a:hlinkClick r:id="rId26" action="ppaction://hlinksldjump"/>
            <a:extLst>
              <a:ext uri="{FF2B5EF4-FFF2-40B4-BE49-F238E27FC236}">
                <a16:creationId xmlns:a16="http://schemas.microsoft.com/office/drawing/2014/main" id="{8AA2B975-33AC-D65A-DDFF-C7BF4DAE8C8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8319" y="3149783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04B15A24-A040-3AB2-84D6-B6C95E5E8CE3}"/>
              </a:ext>
            </a:extLst>
          </p:cNvPr>
          <p:cNvCxnSpPr/>
          <p:nvPr>
            <p:custDataLst>
              <p:tags r:id="rId15"/>
            </p:custDataLst>
          </p:nvPr>
        </p:nvCxnSpPr>
        <p:spPr>
          <a:xfrm>
            <a:off x="518319" y="2338610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hlinkClick r:id="rId27" action="ppaction://hlinksldjump"/>
            <a:extLst>
              <a:ext uri="{FF2B5EF4-FFF2-40B4-BE49-F238E27FC236}">
                <a16:creationId xmlns:a16="http://schemas.microsoft.com/office/drawing/2014/main" id="{A1428013-CFD0-F3E5-FA9D-C11BBBDF146A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87032" y="2424335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Montagekonzept</a:t>
            </a:r>
          </a:p>
        </p:txBody>
      </p:sp>
      <p:sp>
        <p:nvSpPr>
          <p:cNvPr id="45" name="Rechteck 44">
            <a:hlinkClick r:id="rId27" action="ppaction://hlinksldjump"/>
            <a:extLst>
              <a:ext uri="{FF2B5EF4-FFF2-40B4-BE49-F238E27FC236}">
                <a16:creationId xmlns:a16="http://schemas.microsoft.com/office/drawing/2014/main" id="{5064B4C3-98D2-23DF-1DB5-14162468BFAA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8319" y="2424335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DBDBF93-6263-A516-0C8F-BFD4934592DB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0" y="1613162"/>
            <a:ext cx="12192000" cy="741323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Rechteck 42">
            <a:hlinkClick r:id="rId28" action="ppaction://hlinksldjump"/>
            <a:extLst>
              <a:ext uri="{FF2B5EF4-FFF2-40B4-BE49-F238E27FC236}">
                <a16:creationId xmlns:a16="http://schemas.microsoft.com/office/drawing/2014/main" id="{3EE79475-0AA8-A983-5D17-AF3AB0E4FB90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287032" y="1698887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Werbegeschenk</a:t>
            </a:r>
          </a:p>
        </p:txBody>
      </p:sp>
      <p:sp>
        <p:nvSpPr>
          <p:cNvPr id="42" name="Rechteck 41">
            <a:hlinkClick r:id="rId28" action="ppaction://hlinksldjump"/>
            <a:extLst>
              <a:ext uri="{FF2B5EF4-FFF2-40B4-BE49-F238E27FC236}">
                <a16:creationId xmlns:a16="http://schemas.microsoft.com/office/drawing/2014/main" id="{B806E101-58AE-D1B3-330D-DC97B2A1ACA6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8319" y="1698887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5529DD3E-2121-410C-C623-CDF93DADE978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24007CE8-DACF-997F-EA57-69D1F2A50262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AE3D200E-5F48-95A8-F7DC-3F1530605A8E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3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510474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4EE197-30F7-4FF4-0FE1-E9C904B05D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1EE98593-08D2-B301-5B90-D4DB32A6E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lektrische Struktur und Steuerung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E301F8A3-DDA9-88F8-CA30-38F1DC7780E5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/>
              <a:t>Steuerung &amp; Komponenten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34A25AC0-E8BF-8279-B27A-CE6E86B6EF34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B9A14D01-1FBE-1E6F-C256-3CE345AAFFAC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30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B473323-03B1-AD2D-80D3-370ADC2DD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534"/>
          <a:stretch/>
        </p:blipFill>
        <p:spPr>
          <a:xfrm>
            <a:off x="1969082" y="1220962"/>
            <a:ext cx="8032723" cy="521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21919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67E35DF7-E47A-821C-8877-2B18142A9E8C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18319" y="5240401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EBA6D9F3-F74C-5EF6-BA64-74AFBE5D7D7D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518319" y="5965849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hlinkClick r:id="rId23" action="ppaction://hlinksldjump"/>
            <a:extLst>
              <a:ext uri="{FF2B5EF4-FFF2-40B4-BE49-F238E27FC236}">
                <a16:creationId xmlns:a16="http://schemas.microsoft.com/office/drawing/2014/main" id="{28486E9C-D02B-D9DD-6060-88CD3206457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87032" y="5326126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Diskussion</a:t>
            </a:r>
          </a:p>
        </p:txBody>
      </p:sp>
      <p:sp>
        <p:nvSpPr>
          <p:cNvPr id="57" name="Rechteck 56">
            <a:hlinkClick r:id="rId23" action="ppaction://hlinksldjump"/>
            <a:extLst>
              <a:ext uri="{FF2B5EF4-FFF2-40B4-BE49-F238E27FC236}">
                <a16:creationId xmlns:a16="http://schemas.microsoft.com/office/drawing/2014/main" id="{419E2F2B-5B48-0B29-CC53-825B663D396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8319" y="5326126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3A4DD3F-6DBB-47B6-A28B-9A91289F656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0" y="4514953"/>
            <a:ext cx="12192000" cy="741323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Rechteck 54">
            <a:hlinkClick r:id="rId24" action="ppaction://hlinksldjump"/>
            <a:extLst>
              <a:ext uri="{FF2B5EF4-FFF2-40B4-BE49-F238E27FC236}">
                <a16:creationId xmlns:a16="http://schemas.microsoft.com/office/drawing/2014/main" id="{457EAF4D-0F7D-1EE6-10A2-2DA82098BE8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87032" y="4600678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>
                <a:solidFill>
                  <a:schemeClr val="bg1"/>
                </a:solidFill>
              </a:rPr>
              <a:t>Projektmanagement</a:t>
            </a:r>
            <a:endParaRPr lang="de-DE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54" name="Rechteck 53">
            <a:hlinkClick r:id="rId24" action="ppaction://hlinksldjump"/>
            <a:extLst>
              <a:ext uri="{FF2B5EF4-FFF2-40B4-BE49-F238E27FC236}">
                <a16:creationId xmlns:a16="http://schemas.microsoft.com/office/drawing/2014/main" id="{15271803-5614-61DE-FC6D-3A263E93719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8319" y="4600678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5</a:t>
            </a:r>
          </a:p>
        </p:txBody>
      </p: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9EFF3E64-8042-1521-4EAC-7EF076A75393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18319" y="3789506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hlinkClick r:id="rId25" action="ppaction://hlinksldjump"/>
            <a:extLst>
              <a:ext uri="{FF2B5EF4-FFF2-40B4-BE49-F238E27FC236}">
                <a16:creationId xmlns:a16="http://schemas.microsoft.com/office/drawing/2014/main" id="{6E510031-4D5F-6332-4044-0CA829655E2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287032" y="3875231"/>
            <a:ext cx="3337452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Steuerung und Elektrische Struktur</a:t>
            </a:r>
          </a:p>
        </p:txBody>
      </p:sp>
      <p:sp>
        <p:nvSpPr>
          <p:cNvPr id="51" name="Rechteck 50">
            <a:hlinkClick r:id="rId25" action="ppaction://hlinksldjump"/>
            <a:extLst>
              <a:ext uri="{FF2B5EF4-FFF2-40B4-BE49-F238E27FC236}">
                <a16:creationId xmlns:a16="http://schemas.microsoft.com/office/drawing/2014/main" id="{C9C6DD19-C5D7-6F0F-3681-0477F3A1B8AF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8319" y="3875231"/>
            <a:ext cx="583200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D243013C-7729-F904-9E47-ABAAB2606EB5}"/>
              </a:ext>
            </a:extLst>
          </p:cNvPr>
          <p:cNvCxnSpPr/>
          <p:nvPr>
            <p:custDataLst>
              <p:tags r:id="rId12"/>
            </p:custDataLst>
          </p:nvPr>
        </p:nvCxnSpPr>
        <p:spPr>
          <a:xfrm>
            <a:off x="518319" y="3064058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>
            <a:hlinkClick r:id="rId26" action="ppaction://hlinksldjump"/>
            <a:extLst>
              <a:ext uri="{FF2B5EF4-FFF2-40B4-BE49-F238E27FC236}">
                <a16:creationId xmlns:a16="http://schemas.microsoft.com/office/drawing/2014/main" id="{B8F576B4-9982-CA6C-BF03-ADE2267C4AD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287032" y="3149783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Risiko der Montageeinrichtung</a:t>
            </a:r>
          </a:p>
        </p:txBody>
      </p:sp>
      <p:sp>
        <p:nvSpPr>
          <p:cNvPr id="48" name="Rechteck 47">
            <a:hlinkClick r:id="rId26" action="ppaction://hlinksldjump"/>
            <a:extLst>
              <a:ext uri="{FF2B5EF4-FFF2-40B4-BE49-F238E27FC236}">
                <a16:creationId xmlns:a16="http://schemas.microsoft.com/office/drawing/2014/main" id="{308B7C71-7936-9507-070C-C2369BBD7D4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8319" y="3149783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1A5718E7-9A7C-6E8A-1F4C-FCF00B001121}"/>
              </a:ext>
            </a:extLst>
          </p:cNvPr>
          <p:cNvCxnSpPr/>
          <p:nvPr>
            <p:custDataLst>
              <p:tags r:id="rId15"/>
            </p:custDataLst>
          </p:nvPr>
        </p:nvCxnSpPr>
        <p:spPr>
          <a:xfrm>
            <a:off x="518319" y="2338610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hlinkClick r:id="rId27" action="ppaction://hlinksldjump"/>
            <a:extLst>
              <a:ext uri="{FF2B5EF4-FFF2-40B4-BE49-F238E27FC236}">
                <a16:creationId xmlns:a16="http://schemas.microsoft.com/office/drawing/2014/main" id="{728060D6-40F1-812E-5088-0BA6527ABA07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87032" y="2424335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Montagekonzept</a:t>
            </a:r>
          </a:p>
        </p:txBody>
      </p:sp>
      <p:sp>
        <p:nvSpPr>
          <p:cNvPr id="45" name="Rechteck 44">
            <a:hlinkClick r:id="rId27" action="ppaction://hlinksldjump"/>
            <a:extLst>
              <a:ext uri="{FF2B5EF4-FFF2-40B4-BE49-F238E27FC236}">
                <a16:creationId xmlns:a16="http://schemas.microsoft.com/office/drawing/2014/main" id="{33AA44DD-D106-7AA2-B438-DDA70B3B2CE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8319" y="2424335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</a:p>
        </p:txBody>
      </p: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E6404C82-E6A0-F6BE-5239-5A2FC1263363}"/>
              </a:ext>
            </a:extLst>
          </p:cNvPr>
          <p:cNvCxnSpPr/>
          <p:nvPr>
            <p:custDataLst>
              <p:tags r:id="rId18"/>
            </p:custDataLst>
          </p:nvPr>
        </p:nvCxnSpPr>
        <p:spPr>
          <a:xfrm>
            <a:off x="518319" y="1613162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hlinkClick r:id="rId28" action="ppaction://hlinksldjump"/>
            <a:extLst>
              <a:ext uri="{FF2B5EF4-FFF2-40B4-BE49-F238E27FC236}">
                <a16:creationId xmlns:a16="http://schemas.microsoft.com/office/drawing/2014/main" id="{AFD45966-6D8B-31D3-D1E4-AAEF3A5466F5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287032" y="1698887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Werbegeschenk</a:t>
            </a:r>
          </a:p>
        </p:txBody>
      </p:sp>
      <p:sp>
        <p:nvSpPr>
          <p:cNvPr id="42" name="Rechteck 41">
            <a:hlinkClick r:id="rId28" action="ppaction://hlinksldjump"/>
            <a:extLst>
              <a:ext uri="{FF2B5EF4-FFF2-40B4-BE49-F238E27FC236}">
                <a16:creationId xmlns:a16="http://schemas.microsoft.com/office/drawing/2014/main" id="{0E546AA5-D194-875A-5088-3DB2B50C1BC6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8319" y="1698887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2EB97491-F7A5-B590-8D9F-439CF8A375C5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9FB9775C-329F-DE80-0143-1642E2B7613A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AAD90E2F-FEC6-0075-6B71-B7544146902F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31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802772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4358A22D-582F-467A-AD1C-A4E2A578F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rojektmanagement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6D4E6C93-C73F-4F81-93A2-81D5185EE092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932F0AEB-E978-4481-9EAD-595EF88BCCE2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E341A793-F460-43BE-93DF-D8C003D5736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/>
          <a:lstStyle/>
          <a:p>
            <a:r>
              <a:rPr lang="de-DE">
                <a:cs typeface="Arial"/>
              </a:rPr>
              <a:t>Zeitplan</a:t>
            </a:r>
          </a:p>
        </p:txBody>
      </p:sp>
      <p:pic>
        <p:nvPicPr>
          <p:cNvPr id="2" name="Grafik 1" descr="Ein Bild, das Text, Screenshot, Diagramm, parallel enthält.&#10;&#10;KI-generierte Inhalte können fehlerhaft sein.">
            <a:extLst>
              <a:ext uri="{FF2B5EF4-FFF2-40B4-BE49-F238E27FC236}">
                <a16:creationId xmlns:a16="http://schemas.microsoft.com/office/drawing/2014/main" id="{BD858A9D-17CE-9D22-E6B2-F762E83009D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4947"/>
          <a:stretch/>
        </p:blipFill>
        <p:spPr>
          <a:xfrm>
            <a:off x="785138" y="1149837"/>
            <a:ext cx="10463987" cy="5316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6241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519CD0-52AC-52D4-956A-583EF4F044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49CB9713-0355-A960-DD2C-AAF16FDF26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rojektmanagement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7C7F0482-AD03-E3DE-A42D-646F643013A1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43151791-071F-13D2-75F4-170B8084EE85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168AF7A6-175B-086F-7284-90D4D43D80A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/>
          <a:lstStyle/>
          <a:p>
            <a:r>
              <a:rPr lang="de-DE"/>
              <a:t>Meilensteinpla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D9CF7CE-7B3E-0520-0014-EB9F373E36BA}"/>
              </a:ext>
            </a:extLst>
          </p:cNvPr>
          <p:cNvSpPr/>
          <p:nvPr/>
        </p:nvSpPr>
        <p:spPr>
          <a:xfrm>
            <a:off x="10001663" y="3156410"/>
            <a:ext cx="1360247" cy="38503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Projektend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AEBD5AC2-1E24-2B05-D415-BC2913F1FB76}"/>
              </a:ext>
            </a:extLst>
          </p:cNvPr>
          <p:cNvCxnSpPr>
            <a:cxnSpLocks/>
          </p:cNvCxnSpPr>
          <p:nvPr/>
        </p:nvCxnSpPr>
        <p:spPr>
          <a:xfrm flipV="1">
            <a:off x="1144621" y="3679594"/>
            <a:ext cx="9902758" cy="1205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" name="Raute 9">
            <a:extLst>
              <a:ext uri="{FF2B5EF4-FFF2-40B4-BE49-F238E27FC236}">
                <a16:creationId xmlns:a16="http://schemas.microsoft.com/office/drawing/2014/main" id="{A870C422-4B71-88C6-A376-C3EAB6FD7102}"/>
              </a:ext>
            </a:extLst>
          </p:cNvPr>
          <p:cNvSpPr/>
          <p:nvPr/>
        </p:nvSpPr>
        <p:spPr>
          <a:xfrm>
            <a:off x="2617549" y="3533098"/>
            <a:ext cx="296694" cy="29299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1</a:t>
            </a:r>
          </a:p>
        </p:txBody>
      </p:sp>
      <p:sp>
        <p:nvSpPr>
          <p:cNvPr id="11" name="Raute 10">
            <a:extLst>
              <a:ext uri="{FF2B5EF4-FFF2-40B4-BE49-F238E27FC236}">
                <a16:creationId xmlns:a16="http://schemas.microsoft.com/office/drawing/2014/main" id="{CC1B5431-9351-0342-607D-D14928808673}"/>
              </a:ext>
            </a:extLst>
          </p:cNvPr>
          <p:cNvSpPr/>
          <p:nvPr/>
        </p:nvSpPr>
        <p:spPr>
          <a:xfrm>
            <a:off x="4515912" y="3533098"/>
            <a:ext cx="296694" cy="292991"/>
          </a:xfrm>
          <a:prstGeom prst="diamond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2</a:t>
            </a:r>
          </a:p>
        </p:txBody>
      </p:sp>
      <p:sp>
        <p:nvSpPr>
          <p:cNvPr id="12" name="Raute 11">
            <a:extLst>
              <a:ext uri="{FF2B5EF4-FFF2-40B4-BE49-F238E27FC236}">
                <a16:creationId xmlns:a16="http://schemas.microsoft.com/office/drawing/2014/main" id="{33309CBB-68BE-9254-889D-178F71CEDF12}"/>
              </a:ext>
            </a:extLst>
          </p:cNvPr>
          <p:cNvSpPr/>
          <p:nvPr/>
        </p:nvSpPr>
        <p:spPr>
          <a:xfrm>
            <a:off x="6127460" y="3541448"/>
            <a:ext cx="296694" cy="29299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4D67FEB5-C5E1-AFD4-8ABC-A895D67AD0DE}"/>
              </a:ext>
            </a:extLst>
          </p:cNvPr>
          <p:cNvSpPr/>
          <p:nvPr/>
        </p:nvSpPr>
        <p:spPr>
          <a:xfrm>
            <a:off x="7513653" y="3541448"/>
            <a:ext cx="296694" cy="29299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4</a:t>
            </a:r>
          </a:p>
        </p:txBody>
      </p:sp>
      <p:sp>
        <p:nvSpPr>
          <p:cNvPr id="14" name="Raute 13">
            <a:extLst>
              <a:ext uri="{FF2B5EF4-FFF2-40B4-BE49-F238E27FC236}">
                <a16:creationId xmlns:a16="http://schemas.microsoft.com/office/drawing/2014/main" id="{54CAA1E2-9BCE-2C70-6570-CCC3909A753C}"/>
              </a:ext>
            </a:extLst>
          </p:cNvPr>
          <p:cNvSpPr/>
          <p:nvPr/>
        </p:nvSpPr>
        <p:spPr>
          <a:xfrm>
            <a:off x="9295594" y="3533098"/>
            <a:ext cx="296694" cy="29299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5</a:t>
            </a:r>
          </a:p>
        </p:txBody>
      </p:sp>
      <p:sp>
        <p:nvSpPr>
          <p:cNvPr id="15" name="Raute 14">
            <a:extLst>
              <a:ext uri="{FF2B5EF4-FFF2-40B4-BE49-F238E27FC236}">
                <a16:creationId xmlns:a16="http://schemas.microsoft.com/office/drawing/2014/main" id="{9AC339B0-E099-7FCE-D3DC-ABA703D9B24E}"/>
              </a:ext>
            </a:extLst>
          </p:cNvPr>
          <p:cNvSpPr/>
          <p:nvPr/>
        </p:nvSpPr>
        <p:spPr>
          <a:xfrm>
            <a:off x="10533440" y="3545152"/>
            <a:ext cx="296694" cy="29299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2ED04F6-7897-5AE4-BC30-B49ACDE821AB}"/>
              </a:ext>
            </a:extLst>
          </p:cNvPr>
          <p:cNvSpPr/>
          <p:nvPr/>
        </p:nvSpPr>
        <p:spPr>
          <a:xfrm>
            <a:off x="610417" y="3156410"/>
            <a:ext cx="1360247" cy="38503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Projektstart</a:t>
            </a:r>
          </a:p>
        </p:txBody>
      </p:sp>
      <p:sp>
        <p:nvSpPr>
          <p:cNvPr id="17" name="Raute 16">
            <a:extLst>
              <a:ext uri="{FF2B5EF4-FFF2-40B4-BE49-F238E27FC236}">
                <a16:creationId xmlns:a16="http://schemas.microsoft.com/office/drawing/2014/main" id="{A23A8153-054B-6182-65F6-032D2639AB8A}"/>
              </a:ext>
            </a:extLst>
          </p:cNvPr>
          <p:cNvSpPr/>
          <p:nvPr/>
        </p:nvSpPr>
        <p:spPr>
          <a:xfrm>
            <a:off x="1138793" y="3547691"/>
            <a:ext cx="296694" cy="29299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BF51CDC-3C15-9F07-36F9-1A846D536A9C}"/>
              </a:ext>
            </a:extLst>
          </p:cNvPr>
          <p:cNvSpPr/>
          <p:nvPr/>
        </p:nvSpPr>
        <p:spPr>
          <a:xfrm>
            <a:off x="1818728" y="1955259"/>
            <a:ext cx="1882539" cy="62024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Finalisierung Werbegeschenk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E9418F-067C-08A8-6195-D72402478B2F}"/>
              </a:ext>
            </a:extLst>
          </p:cNvPr>
          <p:cNvCxnSpPr>
            <a:cxnSpLocks/>
            <a:stCxn id="10" idx="0"/>
            <a:endCxn id="18" idx="2"/>
          </p:cNvCxnSpPr>
          <p:nvPr/>
        </p:nvCxnSpPr>
        <p:spPr>
          <a:xfrm flipH="1" flipV="1">
            <a:off x="2759998" y="2575503"/>
            <a:ext cx="5898" cy="9575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19">
            <a:extLst>
              <a:ext uri="{FF2B5EF4-FFF2-40B4-BE49-F238E27FC236}">
                <a16:creationId xmlns:a16="http://schemas.microsoft.com/office/drawing/2014/main" id="{669AD735-F4E6-AF72-5B30-0A808C778584}"/>
              </a:ext>
            </a:extLst>
          </p:cNvPr>
          <p:cNvSpPr/>
          <p:nvPr/>
        </p:nvSpPr>
        <p:spPr>
          <a:xfrm>
            <a:off x="5099999" y="1703712"/>
            <a:ext cx="2360298" cy="95759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/>
              <a:t>Fertigungszeichnung und –planung abgeschloss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314538AA-B6E2-D93A-4B0E-A8AA85AD8779}"/>
              </a:ext>
            </a:extLst>
          </p:cNvPr>
          <p:cNvCxnSpPr>
            <a:cxnSpLocks/>
            <a:stCxn id="12" idx="0"/>
            <a:endCxn id="20" idx="2"/>
          </p:cNvCxnSpPr>
          <p:nvPr/>
        </p:nvCxnSpPr>
        <p:spPr>
          <a:xfrm flipV="1">
            <a:off x="6275807" y="2661308"/>
            <a:ext cx="4341" cy="8801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>
            <a:extLst>
              <a:ext uri="{FF2B5EF4-FFF2-40B4-BE49-F238E27FC236}">
                <a16:creationId xmlns:a16="http://schemas.microsoft.com/office/drawing/2014/main" id="{95DE29A4-E24C-C777-1F78-134A68042F8A}"/>
              </a:ext>
            </a:extLst>
          </p:cNvPr>
          <p:cNvSpPr/>
          <p:nvPr/>
        </p:nvSpPr>
        <p:spPr>
          <a:xfrm>
            <a:off x="1919679" y="3823550"/>
            <a:ext cx="1686940" cy="62024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Projektwoche 3</a:t>
            </a:r>
          </a:p>
        </p:txBody>
      </p:sp>
      <p:sp>
        <p:nvSpPr>
          <p:cNvPr id="23" name="Raute 22">
            <a:extLst>
              <a:ext uri="{FF2B5EF4-FFF2-40B4-BE49-F238E27FC236}">
                <a16:creationId xmlns:a16="http://schemas.microsoft.com/office/drawing/2014/main" id="{A1B95669-6087-32FA-E0F6-518ABB0F4B88}"/>
              </a:ext>
            </a:extLst>
          </p:cNvPr>
          <p:cNvSpPr/>
          <p:nvPr/>
        </p:nvSpPr>
        <p:spPr>
          <a:xfrm>
            <a:off x="3508270" y="3533097"/>
            <a:ext cx="296694" cy="292991"/>
          </a:xfrm>
          <a:prstGeom prst="diamond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1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211D1EE1-B527-E3D3-E890-6DDC922D42A0}"/>
              </a:ext>
            </a:extLst>
          </p:cNvPr>
          <p:cNvSpPr/>
          <p:nvPr/>
        </p:nvSpPr>
        <p:spPr>
          <a:xfrm>
            <a:off x="3857267" y="2860329"/>
            <a:ext cx="1686940" cy="62024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Projektwoche 5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D2AA1A5-712B-92F9-74B9-7E04B5E0A5BE}"/>
              </a:ext>
            </a:extLst>
          </p:cNvPr>
          <p:cNvSpPr/>
          <p:nvPr/>
        </p:nvSpPr>
        <p:spPr>
          <a:xfrm>
            <a:off x="5432337" y="3890669"/>
            <a:ext cx="1686940" cy="62024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Projektwoche 6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2C59531-9F60-1846-146B-606A5F187672}"/>
              </a:ext>
            </a:extLst>
          </p:cNvPr>
          <p:cNvSpPr/>
          <p:nvPr/>
        </p:nvSpPr>
        <p:spPr>
          <a:xfrm>
            <a:off x="6818530" y="2893090"/>
            <a:ext cx="1686940" cy="62024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Projektwoche 7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796EBCA9-D20E-A995-535F-8FD03AA4D963}"/>
              </a:ext>
            </a:extLst>
          </p:cNvPr>
          <p:cNvSpPr/>
          <p:nvPr/>
        </p:nvSpPr>
        <p:spPr>
          <a:xfrm>
            <a:off x="8600471" y="3841262"/>
            <a:ext cx="1686940" cy="62024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Projektwoche 9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60CD3A64-E491-B562-6691-5C7FFFCDB0CE}"/>
              </a:ext>
            </a:extLst>
          </p:cNvPr>
          <p:cNvSpPr/>
          <p:nvPr/>
        </p:nvSpPr>
        <p:spPr>
          <a:xfrm>
            <a:off x="8442803" y="1955259"/>
            <a:ext cx="2002275" cy="68365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1. Systemtest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923C80BA-8F15-F233-A77B-7AFAD474E420}"/>
              </a:ext>
            </a:extLst>
          </p:cNvPr>
          <p:cNvCxnSpPr>
            <a:cxnSpLocks/>
            <a:stCxn id="14" idx="0"/>
            <a:endCxn id="30" idx="2"/>
          </p:cNvCxnSpPr>
          <p:nvPr/>
        </p:nvCxnSpPr>
        <p:spPr>
          <a:xfrm flipV="1">
            <a:off x="9443941" y="2638917"/>
            <a:ext cx="0" cy="8941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1D3EA8E8-0382-C47E-1AB7-EBEAF3E7126E}"/>
              </a:ext>
            </a:extLst>
          </p:cNvPr>
          <p:cNvSpPr/>
          <p:nvPr/>
        </p:nvSpPr>
        <p:spPr>
          <a:xfrm>
            <a:off x="3674715" y="4929017"/>
            <a:ext cx="1986781" cy="136397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/>
              <a:t>Systemkonzept der Anlage; Risikobeurteilung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15F23AAB-DE68-C789-1CB6-91623BCA5A94}"/>
              </a:ext>
            </a:extLst>
          </p:cNvPr>
          <p:cNvCxnSpPr>
            <a:cxnSpLocks/>
            <a:stCxn id="11" idx="2"/>
            <a:endCxn id="32" idx="0"/>
          </p:cNvCxnSpPr>
          <p:nvPr/>
        </p:nvCxnSpPr>
        <p:spPr>
          <a:xfrm>
            <a:off x="4664259" y="3826089"/>
            <a:ext cx="3847" cy="11029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33">
            <a:extLst>
              <a:ext uri="{FF2B5EF4-FFF2-40B4-BE49-F238E27FC236}">
                <a16:creationId xmlns:a16="http://schemas.microsoft.com/office/drawing/2014/main" id="{8D752731-071D-98A1-94F1-81BCC40438ED}"/>
              </a:ext>
            </a:extLst>
          </p:cNvPr>
          <p:cNvSpPr/>
          <p:nvPr/>
        </p:nvSpPr>
        <p:spPr>
          <a:xfrm>
            <a:off x="6654623" y="4998673"/>
            <a:ext cx="2032174" cy="129431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/>
              <a:t>Abschluss der Beschaffung </a:t>
            </a:r>
            <a:br>
              <a:rPr lang="de-DE"/>
            </a:br>
            <a:r>
              <a:rPr lang="de-DE"/>
              <a:t>– </a:t>
            </a:r>
            <a:br>
              <a:rPr lang="de-DE"/>
            </a:br>
            <a:r>
              <a:rPr lang="de-DE"/>
              <a:t>Start Montage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969D81C8-12DF-935D-E1C8-BCCE997DA8C8}"/>
              </a:ext>
            </a:extLst>
          </p:cNvPr>
          <p:cNvCxnSpPr>
            <a:cxnSpLocks/>
            <a:stCxn id="13" idx="2"/>
            <a:endCxn id="34" idx="0"/>
          </p:cNvCxnSpPr>
          <p:nvPr/>
        </p:nvCxnSpPr>
        <p:spPr>
          <a:xfrm>
            <a:off x="7662000" y="3834439"/>
            <a:ext cx="8710" cy="11642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3B895797-9C84-43DB-F961-85267AACA955}"/>
              </a:ext>
            </a:extLst>
          </p:cNvPr>
          <p:cNvCxnSpPr>
            <a:cxnSpLocks/>
          </p:cNvCxnSpPr>
          <p:nvPr/>
        </p:nvCxnSpPr>
        <p:spPr>
          <a:xfrm>
            <a:off x="2765896" y="3429000"/>
            <a:ext cx="908819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558548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4358A22D-582F-467A-AD1C-A4E2A578F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rojektmanagement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6D4E6C93-C73F-4F81-93A2-81D5185EE092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932F0AEB-E978-4481-9EAD-595EF88BCCE2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E341A793-F460-43BE-93DF-D8C003D5736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/>
          <a:lstStyle/>
          <a:p>
            <a:r>
              <a:rPr lang="de-DE"/>
              <a:t>Budgetplanung</a:t>
            </a:r>
          </a:p>
        </p:txBody>
      </p:sp>
      <p:pic>
        <p:nvPicPr>
          <p:cNvPr id="2" name="Grafik 1" descr="Ein Bild, das Text, Screenshot, Schrift, Kreis enthält.&#10;&#10;KI-generierte Inhalte können fehlerhaft sein.">
            <a:extLst>
              <a:ext uri="{FF2B5EF4-FFF2-40B4-BE49-F238E27FC236}">
                <a16:creationId xmlns:a16="http://schemas.microsoft.com/office/drawing/2014/main" id="{BA6C7EBB-D7D4-E90A-BE0D-55137861BC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2100" y="1131220"/>
            <a:ext cx="8313610" cy="5329068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96AD823-263C-343F-E7A9-9838E189D069}"/>
              </a:ext>
            </a:extLst>
          </p:cNvPr>
          <p:cNvSpPr txBox="1"/>
          <p:nvPr/>
        </p:nvSpPr>
        <p:spPr>
          <a:xfrm>
            <a:off x="750284" y="1999453"/>
            <a:ext cx="5072388" cy="359072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spcAft>
                <a:spcPts val="800"/>
              </a:spcAft>
              <a:buAutoNum type="arabicPeriod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Werbegeschenk</a:t>
            </a:r>
            <a:endParaRPr lang="de-DE" sz="2000">
              <a:latin typeface="ZEISS Frutiger Next W1G"/>
            </a:endParaRPr>
          </a:p>
          <a:p>
            <a:pPr marL="800100" lvl="1" indent="-342900"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Hauptkostenpunkt </a:t>
            </a:r>
            <a:r>
              <a:rPr lang="de-DE" sz="2000" err="1">
                <a:solidFill>
                  <a:srgbClr val="000000"/>
                </a:solidFill>
                <a:latin typeface="ZEISS Frutiger Next W1G"/>
                <a:cs typeface="Arial"/>
              </a:rPr>
              <a:t>Tooling</a:t>
            </a: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-Fertigung</a:t>
            </a:r>
          </a:p>
          <a:p>
            <a:pPr marL="342900" indent="-342900">
              <a:spcAft>
                <a:spcPts val="800"/>
              </a:spcAft>
              <a:buAutoNum type="arabicPeriod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Elektronik</a:t>
            </a:r>
          </a:p>
          <a:p>
            <a:pPr marL="800100" lvl="1" indent="-342900"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Hauptkostenpunkt Servomotoren</a:t>
            </a:r>
          </a:p>
          <a:p>
            <a:pPr marL="342900" indent="-342900">
              <a:spcAft>
                <a:spcPts val="800"/>
              </a:spcAft>
              <a:buAutoNum type="arabicPeriod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Mechanik </a:t>
            </a:r>
          </a:p>
          <a:p>
            <a:pPr marL="800100" lvl="1" indent="-342900"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Hauptkostenpunkt Plexiglasscheiben</a:t>
            </a:r>
          </a:p>
          <a:p>
            <a:pPr>
              <a:spcAft>
                <a:spcPts val="800"/>
              </a:spcAft>
            </a:pPr>
            <a:endParaRPr lang="de-DE" sz="2000">
              <a:solidFill>
                <a:srgbClr val="000000"/>
              </a:solidFill>
              <a:latin typeface="ZEISS Frutiger Next W1G"/>
              <a:cs typeface="Arial"/>
            </a:endParaRPr>
          </a:p>
          <a:p>
            <a:pPr>
              <a:spcAft>
                <a:spcPts val="800"/>
              </a:spcAft>
            </a:pPr>
            <a:r>
              <a:rPr lang="de-DE" sz="2000">
                <a:solidFill>
                  <a:srgbClr val="000000"/>
                </a:solidFill>
                <a:latin typeface="ZEISS Frutiger Next W1G"/>
                <a:cs typeface="Arial"/>
              </a:rPr>
              <a:t>Offenes Budget: 1/3 verbleibend</a:t>
            </a:r>
            <a:endParaRPr lang="de-DE" sz="2000">
              <a:latin typeface="ZEISS Frutiger Next W1G"/>
            </a:endParaRPr>
          </a:p>
          <a:p>
            <a:pPr marL="285750" indent="-285750">
              <a:spcAft>
                <a:spcPts val="800"/>
              </a:spcAft>
              <a:buAutoNum type="arabicPeriod"/>
            </a:pPr>
            <a:endParaRPr lang="de-DE" sz="2000">
              <a:solidFill>
                <a:srgbClr val="000000"/>
              </a:solidFill>
              <a:latin typeface="ZEISS Frutiger Next W1G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477828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4358A22D-582F-467A-AD1C-A4E2A578F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rojektmanagement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6D4E6C93-C73F-4F81-93A2-81D5185EE092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932F0AEB-E978-4481-9EAD-595EF88BCCE2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E341A793-F460-43BE-93DF-D8C003D5736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/>
          <a:lstStyle/>
          <a:p>
            <a:r>
              <a:rPr lang="de-DE"/>
              <a:t>Weitere Vorgehensweise / Herausforderungen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C63AE0B-A659-4E88-AC99-E9C572E1313E}"/>
              </a:ext>
            </a:extLst>
          </p:cNvPr>
          <p:cNvSpPr txBox="1"/>
          <p:nvPr/>
        </p:nvSpPr>
        <p:spPr>
          <a:xfrm>
            <a:off x="731196" y="1204152"/>
            <a:ext cx="10729608" cy="51267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2000" b="1"/>
              <a:t>Weitere Vorgehensweise: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2000"/>
              <a:t>Bestellung Zukaufteile (Plexiglasscheiben, Schrittmotoren, Linearantrieb, etc.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2000"/>
              <a:t>Finalisierung der CAD-Modellierung von der Montageeinrichtung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2000"/>
              <a:t>Analyse von alternativen Materialien zur Gewichtsreduzierung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2000"/>
              <a:t>Erprobung des Montagekonzepts mit Hilfe von 3D-Druck Bauteile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2000"/>
              <a:t>…</a:t>
            </a:r>
          </a:p>
          <a:p>
            <a:pPr>
              <a:lnSpc>
                <a:spcPct val="150000"/>
              </a:lnSpc>
            </a:pPr>
            <a:r>
              <a:rPr lang="de-DE" sz="2000" b="1"/>
              <a:t>Herausforderungen: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2000"/>
              <a:t>Exakte Steuerung der Drehvorrichtung für den Montageprozess der </a:t>
            </a:r>
            <a:r>
              <a:rPr lang="de-DE" sz="2000" err="1"/>
              <a:t>Tooling</a:t>
            </a:r>
            <a:r>
              <a:rPr lang="de-DE" sz="2000"/>
              <a:t>- und MagSafe-Platt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2000"/>
              <a:t>Programmierung und Steuerung des Roboters für den Abziehmechanismus der Gummibänder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200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0869775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hteck 58">
            <a:extLst>
              <a:ext uri="{FF2B5EF4-FFF2-40B4-BE49-F238E27FC236}">
                <a16:creationId xmlns:a16="http://schemas.microsoft.com/office/drawing/2014/main" id="{9ADF5E46-6CFA-3F59-F161-0BF3870BAF0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5240401"/>
            <a:ext cx="12192000" cy="741323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8" name="Rechteck 57">
            <a:hlinkClick r:id="rId22" action="ppaction://hlinksldjump"/>
            <a:extLst>
              <a:ext uri="{FF2B5EF4-FFF2-40B4-BE49-F238E27FC236}">
                <a16:creationId xmlns:a16="http://schemas.microsoft.com/office/drawing/2014/main" id="{DB957FC7-02A8-F09E-D9AA-CD81AD95CF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87032" y="5326126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Diskussion</a:t>
            </a:r>
          </a:p>
        </p:txBody>
      </p:sp>
      <p:sp>
        <p:nvSpPr>
          <p:cNvPr id="57" name="Rechteck 56">
            <a:hlinkClick r:id="rId22" action="ppaction://hlinksldjump"/>
            <a:extLst>
              <a:ext uri="{FF2B5EF4-FFF2-40B4-BE49-F238E27FC236}">
                <a16:creationId xmlns:a16="http://schemas.microsoft.com/office/drawing/2014/main" id="{10C96F24-6FAD-8618-39FD-09957079655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8319" y="5326126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5CD03D89-E68E-E229-7154-BBA8C507EFBD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518319" y="4514953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>
            <a:hlinkClick r:id="rId23" action="ppaction://hlinksldjump"/>
            <a:extLst>
              <a:ext uri="{FF2B5EF4-FFF2-40B4-BE49-F238E27FC236}">
                <a16:creationId xmlns:a16="http://schemas.microsoft.com/office/drawing/2014/main" id="{41F3B666-4D75-FA7C-B5D3-C290B0BB523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87032" y="4600678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>
                <a:solidFill>
                  <a:schemeClr val="tx1"/>
                </a:solidFill>
              </a:rPr>
              <a:t>Projektmanagement</a:t>
            </a:r>
            <a:endParaRPr lang="de-DE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54" name="Rechteck 53">
            <a:hlinkClick r:id="rId23" action="ppaction://hlinksldjump"/>
            <a:extLst>
              <a:ext uri="{FF2B5EF4-FFF2-40B4-BE49-F238E27FC236}">
                <a16:creationId xmlns:a16="http://schemas.microsoft.com/office/drawing/2014/main" id="{0A0FD92C-D001-0784-717F-C682AA6EE4C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8319" y="4600678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5</a:t>
            </a:r>
          </a:p>
        </p:txBody>
      </p: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BA00E6FB-9B05-8FDF-B588-040B250FE0E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18319" y="3789506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hlinkClick r:id="rId24" action="ppaction://hlinksldjump"/>
            <a:extLst>
              <a:ext uri="{FF2B5EF4-FFF2-40B4-BE49-F238E27FC236}">
                <a16:creationId xmlns:a16="http://schemas.microsoft.com/office/drawing/2014/main" id="{736E6121-950D-DCD4-7364-471A54AB997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287032" y="3875231"/>
            <a:ext cx="3337452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Steuerung und Elektrische Struktur</a:t>
            </a:r>
          </a:p>
        </p:txBody>
      </p:sp>
      <p:sp>
        <p:nvSpPr>
          <p:cNvPr id="51" name="Rechteck 50">
            <a:hlinkClick r:id="rId24" action="ppaction://hlinksldjump"/>
            <a:extLst>
              <a:ext uri="{FF2B5EF4-FFF2-40B4-BE49-F238E27FC236}">
                <a16:creationId xmlns:a16="http://schemas.microsoft.com/office/drawing/2014/main" id="{F1C072CD-8308-EB6C-18FF-96FAD82DD89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8319" y="3875231"/>
            <a:ext cx="583200" cy="55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FA0069EC-DCD9-09E5-38CE-EF0CD815CDB0}"/>
              </a:ext>
            </a:extLst>
          </p:cNvPr>
          <p:cNvCxnSpPr/>
          <p:nvPr>
            <p:custDataLst>
              <p:tags r:id="rId11"/>
            </p:custDataLst>
          </p:nvPr>
        </p:nvCxnSpPr>
        <p:spPr>
          <a:xfrm>
            <a:off x="518319" y="3064058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>
            <a:hlinkClick r:id="rId25" action="ppaction://hlinksldjump"/>
            <a:extLst>
              <a:ext uri="{FF2B5EF4-FFF2-40B4-BE49-F238E27FC236}">
                <a16:creationId xmlns:a16="http://schemas.microsoft.com/office/drawing/2014/main" id="{3FD4CBF3-8C67-9CFA-EFF5-D917FF456A4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287032" y="3149783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Risiko der Montageeinrichtung</a:t>
            </a:r>
          </a:p>
        </p:txBody>
      </p:sp>
      <p:sp>
        <p:nvSpPr>
          <p:cNvPr id="48" name="Rechteck 47">
            <a:hlinkClick r:id="rId25" action="ppaction://hlinksldjump"/>
            <a:extLst>
              <a:ext uri="{FF2B5EF4-FFF2-40B4-BE49-F238E27FC236}">
                <a16:creationId xmlns:a16="http://schemas.microsoft.com/office/drawing/2014/main" id="{FEC69081-1C34-1124-5FB7-0297D2F553A7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8319" y="3149783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57B09C02-D7CA-5B09-0201-447BA3D9FA27}"/>
              </a:ext>
            </a:extLst>
          </p:cNvPr>
          <p:cNvCxnSpPr/>
          <p:nvPr>
            <p:custDataLst>
              <p:tags r:id="rId14"/>
            </p:custDataLst>
          </p:nvPr>
        </p:nvCxnSpPr>
        <p:spPr>
          <a:xfrm>
            <a:off x="518319" y="2338610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hlinkClick r:id="rId26" action="ppaction://hlinksldjump"/>
            <a:extLst>
              <a:ext uri="{FF2B5EF4-FFF2-40B4-BE49-F238E27FC236}">
                <a16:creationId xmlns:a16="http://schemas.microsoft.com/office/drawing/2014/main" id="{5BD3EA2E-A047-3C88-9383-9DCE8D02751E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287032" y="2424335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Montagekonzept</a:t>
            </a:r>
          </a:p>
        </p:txBody>
      </p:sp>
      <p:sp>
        <p:nvSpPr>
          <p:cNvPr id="45" name="Rechteck 44">
            <a:hlinkClick r:id="rId26" action="ppaction://hlinksldjump"/>
            <a:extLst>
              <a:ext uri="{FF2B5EF4-FFF2-40B4-BE49-F238E27FC236}">
                <a16:creationId xmlns:a16="http://schemas.microsoft.com/office/drawing/2014/main" id="{D39405A7-89C0-8338-31CD-28145E6C47D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8319" y="2424335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</a:p>
        </p:txBody>
      </p: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D4079B92-6341-CF6F-5EB4-982E269B7763}"/>
              </a:ext>
            </a:extLst>
          </p:cNvPr>
          <p:cNvCxnSpPr/>
          <p:nvPr>
            <p:custDataLst>
              <p:tags r:id="rId17"/>
            </p:custDataLst>
          </p:nvPr>
        </p:nvCxnSpPr>
        <p:spPr>
          <a:xfrm>
            <a:off x="518319" y="1613162"/>
            <a:ext cx="11159999" cy="0"/>
          </a:xfrm>
          <a:prstGeom prst="line">
            <a:avLst/>
          </a:prstGeom>
          <a:noFill/>
          <a:ln w="9525" cap="flat" cmpd="sng" algn="ctr">
            <a:solidFill>
              <a:srgbClr val="DCE3E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hlinkClick r:id="rId27" action="ppaction://hlinksldjump"/>
            <a:extLst>
              <a:ext uri="{FF2B5EF4-FFF2-40B4-BE49-F238E27FC236}">
                <a16:creationId xmlns:a16="http://schemas.microsoft.com/office/drawing/2014/main" id="{AFA190E2-1CBE-995F-5EB4-4663983329C4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287032" y="1698887"/>
            <a:ext cx="333745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Werbegeschenk</a:t>
            </a:r>
          </a:p>
        </p:txBody>
      </p:sp>
      <p:sp>
        <p:nvSpPr>
          <p:cNvPr id="42" name="Rechteck 41">
            <a:hlinkClick r:id="rId27" action="ppaction://hlinksldjump"/>
            <a:extLst>
              <a:ext uri="{FF2B5EF4-FFF2-40B4-BE49-F238E27FC236}">
                <a16:creationId xmlns:a16="http://schemas.microsoft.com/office/drawing/2014/main" id="{4971CB19-E0FB-241B-4B13-A28749E709D9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518319" y="1698887"/>
            <a:ext cx="5832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6F6F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4C58AEA6-C0DD-442B-A086-699A47BC5E46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AA42B8E8-DCEF-1DAA-2FB1-FBB6273363FF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DE629719-0BD2-2C2C-ED48-AB5745272717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36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3758698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4358A22D-582F-467A-AD1C-A4E2A578F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inlegung Magneten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6D4E6C93-C73F-4F81-93A2-81D5185EE092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932F0AEB-E978-4481-9EAD-595EF88BCCE2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37</a:t>
            </a:fld>
            <a:endParaRPr lang="de-DE"/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E341A793-F460-43BE-93DF-D8C003D5736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319" y="642855"/>
            <a:ext cx="9740106" cy="369332"/>
          </a:xfrm>
        </p:spPr>
        <p:txBody>
          <a:bodyPr/>
          <a:lstStyle/>
          <a:p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B83FC45-296B-4DB6-A54F-6E1E3A1F41D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60" b="33562"/>
          <a:stretch/>
        </p:blipFill>
        <p:spPr>
          <a:xfrm>
            <a:off x="485704" y="2023655"/>
            <a:ext cx="5143500" cy="3544047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AC8EE0C1-11DE-4EDD-940B-4301C7FFC7C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6" t="31954" r="11584" b="23563"/>
          <a:stretch/>
        </p:blipFill>
        <p:spPr>
          <a:xfrm>
            <a:off x="6377553" y="2023655"/>
            <a:ext cx="5148148" cy="3544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3915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4358A22D-582F-467A-AD1C-A4E2A578F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Goodie-Box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E009228E-F4A7-4DAA-A2CE-4E0625D1626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/>
              <a:t>Aufbau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6D4E6C93-C73F-4F81-93A2-81D5185EE092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932F0AEB-E978-4481-9EAD-595EF88BCCE2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38</a:t>
            </a:fld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3F7CB6E7-67CD-12EE-A1FF-528734C25D11}"/>
              </a:ext>
            </a:extLst>
          </p:cNvPr>
          <p:cNvSpPr txBox="1"/>
          <p:nvPr/>
        </p:nvSpPr>
        <p:spPr>
          <a:xfrm>
            <a:off x="6554389" y="2102907"/>
            <a:ext cx="4693186" cy="3385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Char char="-"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Box aus Kunststoff, Holz oder Metall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Char char="-"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Platz für z.B. Feuerzeuge, Stifte, Radiergummis, Flaschenöffner, Parkmünze, usw.</a:t>
            </a:r>
            <a:b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  <a:sym typeface="Wingdings" panose="05000000000000000000" pitchFamily="2" charset="2"/>
              </a:rPr>
              <a:t> Werbegeschenke die die DHBW bereits hat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Char char="-"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Verbindung des Deckels über einrastende Nut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Char char="-"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Einfüllen der Tools über Greifer / Magazin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5" name="3D-Modell 4">
                <a:extLst>
                  <a:ext uri="{FF2B5EF4-FFF2-40B4-BE49-F238E27FC236}">
                    <a16:creationId xmlns:a16="http://schemas.microsoft.com/office/drawing/2014/main" id="{4CA5DE10-9474-8AFA-70A9-7B46BD12F0D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80863495"/>
                  </p:ext>
                </p:extLst>
              </p:nvPr>
            </p:nvGraphicFramePr>
            <p:xfrm>
              <a:off x="1055576" y="891529"/>
              <a:ext cx="4961556" cy="4885371"/>
            </p:xfrm>
            <a:graphic>
              <a:graphicData uri="http://schemas.microsoft.com/office/drawing/2017/model3d">
                <am3d:model3d r:embed="rId2">
                  <am3d:spPr>
                    <a:xfrm>
                      <a:off x="0" y="0"/>
                      <a:ext cx="4961556" cy="4885371"/>
                    </a:xfrm>
                    <a:prstGeom prst="rect">
                      <a:avLst/>
                    </a:prstGeom>
                  </am3d:spPr>
                  <am3d:camera>
                    <am3d:pos x="0" y="0" z="69603512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6451" d="1000000"/>
                    <am3d:preTrans dx="0" dy="-9058064" dz="6387096"/>
                    <am3d:scale>
                      <am3d:sx n="1000000" d="1000000"/>
                      <am3d:sy n="1000000" d="1000000"/>
                      <am3d:sz n="1000000" d="1000000"/>
                    </am3d:scale>
                    <am3d:rot ax="2011683" ay="-1662112" az="-1027192"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5418667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5" name="3D-Modell 4">
                <a:extLst>
                  <a:ext uri="{FF2B5EF4-FFF2-40B4-BE49-F238E27FC236}">
                    <a16:creationId xmlns:a16="http://schemas.microsoft.com/office/drawing/2014/main" id="{4CA5DE10-9474-8AFA-70A9-7B46BD12F0D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055576" y="891529"/>
                <a:ext cx="4961556" cy="4885371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53493423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F835847D-2BC7-7750-55D7-3F88EBAD6625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Titel 234">
            <a:extLst>
              <a:ext uri="{FF2B5EF4-FFF2-40B4-BE49-F238E27FC236}">
                <a16:creationId xmlns:a16="http://schemas.microsoft.com/office/drawing/2014/main" id="{01009BE7-E467-AE63-FE85-3FF72F75841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/>
              <a:t>Quellen</a:t>
            </a:r>
          </a:p>
        </p:txBody>
      </p:sp>
      <p:sp>
        <p:nvSpPr>
          <p:cNvPr id="274" name="Textplatzhalter 273">
            <a:extLst>
              <a:ext uri="{FF2B5EF4-FFF2-40B4-BE49-F238E27FC236}">
                <a16:creationId xmlns:a16="http://schemas.microsoft.com/office/drawing/2014/main" id="{83BEA039-D8F9-B9EF-850B-688BFECE6787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/>
              <a:t>Inhalte</a:t>
            </a:r>
          </a:p>
        </p:txBody>
      </p:sp>
      <p:sp>
        <p:nvSpPr>
          <p:cNvPr id="275" name="Textplatzhalter 274">
            <a:extLst>
              <a:ext uri="{FF2B5EF4-FFF2-40B4-BE49-F238E27FC236}">
                <a16:creationId xmlns:a16="http://schemas.microsoft.com/office/drawing/2014/main" id="{6D9901DD-E46A-CC8E-AD78-8ABFC334A0D5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de-DE" b="1"/>
              <a:t>Quelle 10 </a:t>
            </a:r>
            <a:r>
              <a:rPr lang="de-DE"/>
              <a:t>– europa.eu – abgerufen am 12.03.2024 </a:t>
            </a:r>
            <a:r>
              <a:rPr lang="de-DE">
                <a:hlinkClick r:id="rId4"/>
              </a:rPr>
              <a:t>EUR-Lex - 32003R0001 - DE (europa.eu)</a:t>
            </a:r>
          </a:p>
          <a:p>
            <a:r>
              <a:rPr lang="de-DE" b="1"/>
              <a:t>Quelle 11 </a:t>
            </a:r>
            <a:r>
              <a:rPr lang="de-DE"/>
              <a:t>– Was ist ein Joint Venture? – abgerufen am 04.03.2024: </a:t>
            </a:r>
            <a:r>
              <a:rPr lang="de-DE">
                <a:hlinkClick r:id="rId5"/>
              </a:rPr>
              <a:t>https://studyflix.de/wirtschaft/joint-venture-6566</a:t>
            </a:r>
            <a:endParaRPr lang="de-DE"/>
          </a:p>
          <a:p>
            <a:r>
              <a:rPr lang="de-DE" b="1"/>
              <a:t>Quelle 12 </a:t>
            </a:r>
            <a:r>
              <a:rPr lang="de-DE"/>
              <a:t>– Was ist ein Kartell? </a:t>
            </a:r>
            <a:r>
              <a:rPr lang="de-DE">
                <a:hlinkClick r:id="rId6"/>
              </a:rPr>
              <a:t>–</a:t>
            </a:r>
            <a:r>
              <a:rPr lang="de-DE"/>
              <a:t> abgerufen am 04.03.2024: </a:t>
            </a:r>
            <a:r>
              <a:rPr lang="de-DE">
                <a:hlinkClick r:id="rId6"/>
              </a:rPr>
              <a:t>https://studyflix.de/wirtschaft/prinzip-des-kartells-296</a:t>
            </a:r>
            <a:endParaRPr lang="de-DE"/>
          </a:p>
          <a:p>
            <a:r>
              <a:rPr lang="de-DE" b="1"/>
              <a:t>Quelle 13 </a:t>
            </a:r>
            <a:r>
              <a:rPr lang="de-DE"/>
              <a:t>– Unterschiede Kartell, Joint Venture – abgerufen am 10.03.2024: </a:t>
            </a:r>
            <a:r>
              <a:rPr lang="de-DE">
                <a:hlinkClick r:id="rId7"/>
              </a:rPr>
              <a:t>https://www.verivox.de/geldanlage/themen/kartell/#:~:text=Ein%20Kartell%20ist%20ein%20Zusammenschluss,Grund%20sind%20Kartelle%20grunds%C3%A4tzlich%20verboten</a:t>
            </a:r>
            <a:r>
              <a:rPr lang="de-DE"/>
              <a:t>.</a:t>
            </a:r>
          </a:p>
          <a:p>
            <a:r>
              <a:rPr lang="de-DE" b="1"/>
              <a:t>Quelle 14 </a:t>
            </a:r>
            <a:r>
              <a:rPr lang="de-DE"/>
              <a:t>– </a:t>
            </a:r>
            <a:r>
              <a:rPr lang="en-US"/>
              <a:t>David A. Shirk (2014) A Tale of Two Mexican Border Cities: The Rise and Decline of Drug Violence in Juárez and Tijuana, Journal of Borderlands Studies, 29:4, 481-502, DOI: 10.1080/08865655.2014.982470</a:t>
            </a:r>
          </a:p>
          <a:p>
            <a:endParaRPr lang="de-DE"/>
          </a:p>
          <a:p>
            <a:r>
              <a:rPr lang="de-DE"/>
              <a:t> 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DD37C719-14B2-41B2-8CAD-71BC625B82EF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7127265E-C808-1F80-ADA4-2FC5EB0712FD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39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2204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994B19-2BF3-8ACC-8DE7-E00C1FFFF1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F61FBC2E-FCF0-9A42-F113-569EF942DE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Werbegeschenk</a:t>
            </a:r>
            <a:endParaRPr lang="de-DE"/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4A58286E-5A12-3145-760F-D5AD28E15C15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Variantenauswahl</a:t>
            </a:r>
            <a:endParaRPr lang="de-DE"/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0A265421-E3BE-E46A-ABDC-903093D8C4E5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7CE0AE21-DDDF-1574-3DC5-AD196B1131F2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2" name="Grafik 1" descr="Ein Bild, das Text, Diagramm enthält.&#10;&#10;KI-generierte Inhalte können fehlerhaft sein.">
            <a:extLst>
              <a:ext uri="{FF2B5EF4-FFF2-40B4-BE49-F238E27FC236}">
                <a16:creationId xmlns:a16="http://schemas.microsoft.com/office/drawing/2014/main" id="{7C120071-BA8E-A228-7726-0C00A24F658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995" r="13688" b="-201"/>
          <a:stretch/>
        </p:blipFill>
        <p:spPr>
          <a:xfrm>
            <a:off x="1964029" y="1105964"/>
            <a:ext cx="7718613" cy="5354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77088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0266C11E-30B7-EC7C-A3C6-BD3708A5CAE2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Titel 234">
            <a:extLst>
              <a:ext uri="{FF2B5EF4-FFF2-40B4-BE49-F238E27FC236}">
                <a16:creationId xmlns:a16="http://schemas.microsoft.com/office/drawing/2014/main" id="{01009BE7-E467-AE63-FE85-3FF72F75841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/>
              <a:t>Quellen</a:t>
            </a:r>
          </a:p>
        </p:txBody>
      </p:sp>
      <p:sp>
        <p:nvSpPr>
          <p:cNvPr id="274" name="Textplatzhalter 273">
            <a:extLst>
              <a:ext uri="{FF2B5EF4-FFF2-40B4-BE49-F238E27FC236}">
                <a16:creationId xmlns:a16="http://schemas.microsoft.com/office/drawing/2014/main" id="{83BEA039-D8F9-B9EF-850B-688BFECE6787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/>
              <a:t>Abbildungen</a:t>
            </a:r>
          </a:p>
        </p:txBody>
      </p:sp>
      <p:sp>
        <p:nvSpPr>
          <p:cNvPr id="275" name="Textplatzhalter 274">
            <a:extLst>
              <a:ext uri="{FF2B5EF4-FFF2-40B4-BE49-F238E27FC236}">
                <a16:creationId xmlns:a16="http://schemas.microsoft.com/office/drawing/2014/main" id="{6D9901DD-E46A-CC8E-AD78-8ABFC334A0D5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de-DE" b="1"/>
              <a:t>Abbildung 2 </a:t>
            </a:r>
            <a:r>
              <a:rPr lang="de-DE"/>
              <a:t>– Allianz Logo – Wikipedia abgerufen am 04.03.2024: </a:t>
            </a:r>
            <a:r>
              <a:rPr lang="de-DE">
                <a:hlinkClick r:id="rId4"/>
              </a:rPr>
              <a:t>https://de.wikipedia.org/wiki/Datei:Allianz.png</a:t>
            </a:r>
            <a:endParaRPr lang="de-DE"/>
          </a:p>
          <a:p>
            <a:r>
              <a:rPr lang="de-DE" b="1"/>
              <a:t>Abbildung 3 </a:t>
            </a:r>
            <a:r>
              <a:rPr lang="de-DE"/>
              <a:t>– Volkswagen Logo – Wikipedia abgerufen am 04.03.2024: </a:t>
            </a:r>
            <a:r>
              <a:rPr lang="de-DE">
                <a:hlinkClick r:id="rId5"/>
              </a:rPr>
              <a:t>https://de.m.wikipedia.org/wiki/Datei:Volkswagen_logo_2019.svg</a:t>
            </a:r>
            <a:endParaRPr lang="de-DE"/>
          </a:p>
          <a:p>
            <a:r>
              <a:rPr lang="de-DE" b="1"/>
              <a:t>Abbildung 4 </a:t>
            </a:r>
            <a:r>
              <a:rPr lang="de-DE"/>
              <a:t>– Vorstandsvorsitzender Allianz – FAZ abgerufen am 04.03.2024:</a:t>
            </a:r>
            <a:br>
              <a:rPr lang="de-DE"/>
            </a:br>
            <a:r>
              <a:rPr lang="de-DE">
                <a:hlinkClick r:id="rId6"/>
              </a:rPr>
              <a:t>https://www.faz.net/aktuell/finanzen/allianz-chef-oliver-baete-ueber-altersvorsorge-und-klimawandel-16495036.html</a:t>
            </a:r>
            <a:endParaRPr lang="de-DE"/>
          </a:p>
          <a:p>
            <a:r>
              <a:rPr lang="de-DE" b="1"/>
              <a:t>Abbildung 5 </a:t>
            </a:r>
            <a:r>
              <a:rPr lang="de-DE"/>
              <a:t>– Vorstandsvorsitzender Volkswagen – Wikipedia abgerufen am 04.03.2024: </a:t>
            </a:r>
            <a:r>
              <a:rPr lang="de-DE">
                <a:hlinkClick r:id="rId7"/>
              </a:rPr>
              <a:t>https://de.wikipedia.org/wiki/Martin_Winterkorn</a:t>
            </a:r>
            <a:endParaRPr lang="de-DE"/>
          </a:p>
          <a:p>
            <a:r>
              <a:rPr lang="de-DE" b="1"/>
              <a:t>Abbildung 6 </a:t>
            </a:r>
            <a:r>
              <a:rPr lang="de-DE"/>
              <a:t>– RWE Logo – Wikipedia abgerufen am 10.03.2024: </a:t>
            </a:r>
            <a:r>
              <a:rPr lang="de-DE">
                <a:hlinkClick r:id="rId8"/>
              </a:rPr>
              <a:t>https://de.m.wikipedia.org/wiki/Datei:RWE_Logo_2020.svg</a:t>
            </a:r>
            <a:endParaRPr lang="de-DE"/>
          </a:p>
          <a:p>
            <a:r>
              <a:rPr lang="de-DE" b="1"/>
              <a:t>Abbildung 7 </a:t>
            </a:r>
            <a:r>
              <a:rPr lang="de-DE"/>
              <a:t>– E.ON Logo – Wikipedia abgerufen am 10.03.2024: </a:t>
            </a:r>
            <a:r>
              <a:rPr lang="de-DE">
                <a:hlinkClick r:id="rId9"/>
              </a:rPr>
              <a:t>https://de.wikipedia.org/wiki/Datei:EON_Logo.svg</a:t>
            </a:r>
            <a:endParaRPr lang="de-DE"/>
          </a:p>
          <a:p>
            <a:r>
              <a:rPr lang="de-DE" b="1"/>
              <a:t>Abbildung 8 </a:t>
            </a:r>
            <a:r>
              <a:rPr lang="de-DE"/>
              <a:t>– Vorstandsvorsitzender RWE – RWE abgerufen am 10.03.2024: </a:t>
            </a:r>
            <a:r>
              <a:rPr lang="de-DE">
                <a:hlinkClick r:id="rId10"/>
              </a:rPr>
              <a:t>https://www.rwe.com/investor-relations/finanzkalender-und-veroeffentlichungen/2021-H1/</a:t>
            </a:r>
            <a:endParaRPr lang="de-DE"/>
          </a:p>
          <a:p>
            <a:r>
              <a:rPr lang="de-DE" b="1"/>
              <a:t>Abbildung 9 </a:t>
            </a:r>
            <a:r>
              <a:rPr lang="de-DE"/>
              <a:t>– Vorstandsvorsitzender E.ON – Süddeutsche Abgerufen am 10.03.2024: </a:t>
            </a:r>
            <a:r>
              <a:rPr lang="de-DE">
                <a:hlinkClick r:id="rId11"/>
              </a:rPr>
              <a:t>https://www.sueddeutsche.de/wirtschaft/eon-hauptversammlung-leonhard-birnbaum-1.5298668</a:t>
            </a:r>
            <a:endParaRPr lang="de-DE"/>
          </a:p>
          <a:p>
            <a:r>
              <a:rPr lang="de-DE" b="1"/>
              <a:t>Abbildung 10 </a:t>
            </a:r>
            <a:r>
              <a:rPr lang="de-DE"/>
              <a:t>– Cartoon - Auto Kartell – Abgerufen am 16.03.2024: </a:t>
            </a:r>
            <a:r>
              <a:rPr lang="de-DE">
                <a:hlinkClick r:id="rId12"/>
              </a:rPr>
              <a:t>https://de.toonpool.com/cartoons/Auto-Kartell%20und%20EU_321715</a:t>
            </a:r>
            <a:endParaRPr lang="de-DE"/>
          </a:p>
          <a:p>
            <a:endParaRPr lang="de-DE"/>
          </a:p>
          <a:p>
            <a:endParaRPr lang="de-DE" b="1"/>
          </a:p>
          <a:p>
            <a:endParaRPr lang="de-DE"/>
          </a:p>
          <a:p>
            <a:endParaRPr lang="de-DE"/>
          </a:p>
          <a:p>
            <a:endParaRPr lang="de-DE"/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DD37C719-14B2-41B2-8CAD-71BC625B82EF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7127265E-C808-1F80-ADA4-2FC5EB0712FD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40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9675489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4358A22D-582F-467A-AD1C-A4E2A578F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DailyM8</a:t>
            </a:r>
            <a:endParaRPr lang="de-DE"/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E009228E-F4A7-4DAA-A2CE-4E0625D1626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/>
              <a:t>Bauteile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4EAFAA3B-0666-4042-9FBA-CFBBF49E0AB7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de-DE"/>
              <a:t>https://www.amazon.de/verschiedene-Whiteboard-Magnettafel-Handwerk-K%C3%BChlschrank/dp/B0D5HDSWMS/ref=sr_1_11_sspa?__mk_de_DE=%C3%85M%C3%85%C5%BD%C3%95%C3%91&amp;crid=9LGQXM36NQE9&amp;dib=eyJ2IjoiMSJ9._Qfan2h0X1tbo3aBmD5DqXFbza7z7KyJ1X_yjO0PAGx4XX6K2r3wWqDUW3whgWOdxjWPzkDqnjMDmiYurrqlYZsw4Mqhfpr9EvTlAh6T_yz2RLahVPq_PSkR93yM11whs1_wt2BAvfezMa0Cfaw0OmxLphMbLvzyShpbP8-SD1Umw_T7SMMf131VG6FVR9En0HmL0gKwFBKCd5k81wONgT19Gr3AnV_cousBuQifRZHI_x8s7EqcUZpJYX394GN1Hy-d4sEuqdybcC3kEPN2JoJ6dRSkgbNdd2OrxjLkhH4.Gfk5GwLrmp2i_hn_NgAUe9nJI8HAPQSsBsoERJHOhQs&amp;dib_tag=se&amp;keywords=magnete%2B3d%2Bdruck%2Bd%C3%BCnn&amp;qid=1743445507&amp;sprefix=magneten%2B3ddruck%2Bd%C3%BCnn%2Caps%2C78&amp;sr=8-11-spons&amp;sp_csd=d2lkZ2V0TmFtZT1zcF9tdGY&amp;th=1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6D4E6C93-C73F-4F81-93A2-81D5185EE092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932F0AEB-E978-4481-9EAD-595EF88BCCE2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6867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90A3E6-5FB2-E42F-AEAC-5CC939B1FC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DBE160EF-4ABD-AA08-E870-44CC19B672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Werbegeschenk</a:t>
            </a:r>
            <a:endParaRPr lang="de-DE"/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97A1965C-43A2-0D3A-BCD3-947EA12F623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Prinzip</a:t>
            </a:r>
            <a:endParaRPr lang="de-DE"/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D1567C2E-C340-CA5F-2433-632C5BA9140E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62203F9F-4DF7-4192-B7C7-E9B67E7B4FD4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5</a:t>
            </a:fld>
            <a:endParaRPr lang="de-DE"/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11" name="3D-Modell 10">
                <a:extLst>
                  <a:ext uri="{FF2B5EF4-FFF2-40B4-BE49-F238E27FC236}">
                    <a16:creationId xmlns:a16="http://schemas.microsoft.com/office/drawing/2014/main" id="{ADB1EFCF-53C3-4F71-9FDB-B514A157359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641231584"/>
                  </p:ext>
                </p:extLst>
              </p:nvPr>
            </p:nvGraphicFramePr>
            <p:xfrm>
              <a:off x="5145717" y="1183146"/>
              <a:ext cx="6314948" cy="4491708"/>
            </p:xfrm>
            <a:graphic>
              <a:graphicData uri="http://schemas.microsoft.com/office/drawing/2017/model3d">
                <am3d:model3d r:embed="rId3">
                  <am3d:spPr>
                    <a:xfrm>
                      <a:off x="0" y="0"/>
                      <a:ext cx="6314948" cy="4491708"/>
                    </a:xfrm>
                    <a:prstGeom prst="rect">
                      <a:avLst/>
                    </a:prstGeom>
                  </am3d:spPr>
                  <am3d:camera>
                    <am3d:pos x="0" y="0" z="57404555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1627" d="1000000"/>
                    <am3d:preTrans dx="-7541879" dy="-3139534" dz="0"/>
                    <am3d:scale>
                      <am3d:sx n="1000000" d="1000000"/>
                      <am3d:sy n="1000000" d="1000000"/>
                      <am3d:sz n="1000000" d="1000000"/>
                    </am3d:scale>
                    <am3d:rot ax="-1860620" ay="2375047" az="9542470"/>
                    <am3d:postTrans dx="0" dy="0" dz="0"/>
                  </am3d:trans>
                  <am3d:raster rName="Office3DRenderer" rVer="16.0.8326">
                    <am3d:blip r:embed="rId4"/>
                  </am3d:raster>
                  <am3d:objViewport viewportSz="6437737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11" name="3D-Modell 10">
                <a:extLst>
                  <a:ext uri="{FF2B5EF4-FFF2-40B4-BE49-F238E27FC236}">
                    <a16:creationId xmlns:a16="http://schemas.microsoft.com/office/drawing/2014/main" id="{ADB1EFCF-53C3-4F71-9FDB-B514A157359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145717" y="1183146"/>
                <a:ext cx="6314948" cy="4491708"/>
              </a:xfrm>
              <a:prstGeom prst="rect">
                <a:avLst/>
              </a:prstGeom>
            </p:spPr>
          </p:pic>
        </mc:Fallback>
      </mc:AlternateContent>
      <p:sp>
        <p:nvSpPr>
          <p:cNvPr id="12" name="Textfeld 11">
            <a:extLst>
              <a:ext uri="{FF2B5EF4-FFF2-40B4-BE49-F238E27FC236}">
                <a16:creationId xmlns:a16="http://schemas.microsoft.com/office/drawing/2014/main" id="{85E16572-9A4A-43EE-99B8-69E7B83F5A74}"/>
              </a:ext>
            </a:extLst>
          </p:cNvPr>
          <p:cNvSpPr txBox="1"/>
          <p:nvPr/>
        </p:nvSpPr>
        <p:spPr>
          <a:xfrm>
            <a:off x="841890" y="2916591"/>
            <a:ext cx="6049361" cy="1949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</a:rPr>
              <a:t>H</a:t>
            </a:r>
            <a:r>
              <a:rPr lang="de-DE" sz="2000" err="1">
                <a:solidFill>
                  <a:srgbClr val="000000"/>
                </a:solidFill>
                <a:latin typeface="ZEISS Frutiger Next W1G"/>
              </a:rPr>
              <a:t>aftung</a:t>
            </a:r>
            <a:r>
              <a:rPr lang="de-DE" sz="2000">
                <a:solidFill>
                  <a:srgbClr val="000000"/>
                </a:solidFill>
                <a:latin typeface="ZEISS Frutiger Next W1G"/>
              </a:rPr>
              <a:t> des Inhalts durch Klemmung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</a:rPr>
              <a:t>Klemmung durch Gummiband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Oberteil besitzt eigene Funktionen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</a:endParaRP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Haftung am Mobiltelefon durch Einlegen </a:t>
            </a:r>
          </a:p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</a:pPr>
            <a:r>
              <a:rPr lang="de-DE" sz="2000">
                <a:solidFill>
                  <a:srgbClr val="000000"/>
                </a:solidFill>
                <a:latin typeface="ZEISS Frutiger Next W1G"/>
              </a:rPr>
              <a:t>     von Magneten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</a:endParaRPr>
          </a:p>
        </p:txBody>
      </p:sp>
    </p:spTree>
    <p:extLst>
      <p:ext uri="{BB962C8B-B14F-4D97-AF65-F5344CB8AC3E}">
        <p14:creationId xmlns:p14="http://schemas.microsoft.com/office/powerpoint/2010/main" val="22696446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8" presetClass="emph" presetSubtype="128" accel="20000" decel="2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sum">
                                        <p:cTn id="6" dur="5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3d.view.rotation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3330">
                                          <p:val>
                                            <p:fltVal val="6.9747"/>
                                          </p:val>
                                        </p:tav>
                                        <p:tav tm="6660">
                                          <p:val>
                                            <p:fltVal val="12.1039"/>
                                          </p:val>
                                        </p:tav>
                                        <p:tav tm="9990">
                                          <p:val>
                                            <p:fltVal val="15.6713"/>
                                          </p:val>
                                        </p:tav>
                                        <p:tav tm="13320">
                                          <p:val>
                                            <p:fltVal val="17.9604"/>
                                          </p:val>
                                        </p:tav>
                                        <p:tav tm="16650">
                                          <p:val>
                                            <p:fltVal val="19.2548"/>
                                          </p:val>
                                        </p:tav>
                                        <p:tav tm="19970">
                                          <p:val>
                                            <p:fltVal val="19.8371"/>
                                          </p:val>
                                        </p:tav>
                                        <p:tav tm="23290">
                                          <p:val>
                                            <p:fltVal val="19.9936"/>
                                          </p:val>
                                        </p:tav>
                                        <p:tav tm="26620">
                                          <p:val>
                                            <p:fltVal val="19.9945"/>
                                          </p:val>
                                        </p:tav>
                                        <p:tav tm="29950">
                                          <p:val>
                                            <p:fltVal val="19.8447"/>
                                          </p:val>
                                        </p:tav>
                                        <p:tav tm="33280">
                                          <p:val>
                                            <p:fltVal val="19.2733"/>
                                          </p:val>
                                        </p:tav>
                                        <p:tav tm="36610">
                                          <p:val>
                                            <p:fltVal val="17.9968"/>
                                          </p:val>
                                        </p:tav>
                                        <p:tav tm="39940">
                                          <p:val>
                                            <p:fltVal val="15.7316"/>
                                          </p:val>
                                        </p:tav>
                                        <p:tav tm="43270">
                                          <p:val>
                                            <p:fltVal val="12.194"/>
                                          </p:val>
                                        </p:tav>
                                        <p:tav tm="46600">
                                          <p:val>
                                            <p:fltVal val="7.1005"/>
                                          </p:val>
                                        </p:tav>
                                        <p:tav tm="49930">
                                          <p:val>
                                            <p:fltVal val="0.1675"/>
                                          </p:val>
                                        </p:tav>
                                        <p:tav tm="53250">
                                          <p:val>
                                            <p:fltVal val="-6.8299"/>
                                          </p:val>
                                        </p:tav>
                                        <p:tav tm="56580">
                                          <p:val>
                                            <p:fltVal val="-12.0002"/>
                                          </p:val>
                                        </p:tav>
                                        <p:tav tm="59900">
                                          <p:val>
                                            <p:fltVal val="-15.593"/>
                                          </p:val>
                                        </p:tav>
                                        <p:tav tm="63220">
                                          <p:val>
                                            <p:fltVal val="-17.9075"/>
                                          </p:val>
                                        </p:tav>
                                        <p:tav tm="66540">
                                          <p:val>
                                            <p:fltVal val="-19.2249"/>
                                          </p:val>
                                        </p:tav>
                                        <p:tav tm="69870">
                                          <p:val>
                                            <p:fltVal val="-19.8271"/>
                                          </p:val>
                                        </p:tav>
                                        <p:tav tm="73190">
                                          <p:val>
                                            <p:fltVal val="-19.9924"/>
                                          </p:val>
                                        </p:tav>
                                        <p:tav tm="76510">
                                          <p:val>
                                            <p:fltVal val="-19.9955"/>
                                          </p:val>
                                        </p:tav>
                                        <p:tav tm="79830">
                                          <p:val>
                                            <p:fltVal val="-19.8557"/>
                                          </p:val>
                                        </p:tav>
                                        <p:tav tm="83160">
                                          <p:val>
                                            <p:fltVal val="-19.3045"/>
                                          </p:val>
                                        </p:tav>
                                        <p:tav tm="86480">
                                          <p:val>
                                            <p:fltVal val="-18.0634"/>
                                          </p:val>
                                        </p:tav>
                                        <p:tav tm="89800">
                                          <p:val>
                                            <p:fltVal val="-15.8505"/>
                                          </p:val>
                                        </p:tav>
                                        <p:tav tm="93120">
                                          <p:val>
                                            <p:fltVal val="-12.3847"/>
                                          </p:val>
                                        </p:tav>
                                        <p:tav tm="96450">
                                          <p:val>
                                            <p:fltVal val="-7.3674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90A3E6-5FB2-E42F-AEAC-5CC939B1FC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DBE160EF-4ABD-AA08-E870-44CC19B672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Werbegeschenk</a:t>
            </a:r>
            <a:endParaRPr lang="de-DE"/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97A1965C-43A2-0D3A-BCD3-947EA12F623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Designoption – Variante 1</a:t>
            </a:r>
            <a:endParaRPr lang="de-DE"/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D1567C2E-C340-CA5F-2433-632C5BA9140E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62203F9F-4DF7-4192-B7C7-E9B67E7B4FD4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6</a:t>
            </a:fld>
            <a:endParaRPr lang="de-DE"/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5" name="3D-Modell 4">
                <a:extLst>
                  <a:ext uri="{FF2B5EF4-FFF2-40B4-BE49-F238E27FC236}">
                    <a16:creationId xmlns:a16="http://schemas.microsoft.com/office/drawing/2014/main" id="{EE6D62E5-D795-4508-98E2-1A2145AE8B63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541173022"/>
                  </p:ext>
                </p:extLst>
              </p:nvPr>
            </p:nvGraphicFramePr>
            <p:xfrm rot="10800000">
              <a:off x="8388624" y="1660016"/>
              <a:ext cx="2958247" cy="4312022"/>
            </p:xfrm>
            <a:graphic>
              <a:graphicData uri="http://schemas.microsoft.com/office/drawing/2017/model3d">
                <am3d:model3d r:embed="rId2">
                  <am3d:spPr>
                    <a:xfrm rot="10800000">
                      <a:off x="0" y="0"/>
                      <a:ext cx="2958247" cy="4312022"/>
                    </a:xfrm>
                    <a:prstGeom prst="rect">
                      <a:avLst/>
                    </a:prstGeom>
                  </am3d:spPr>
                  <am3d:camera>
                    <am3d:pos x="0" y="0" z="57043860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1627" d="1000000"/>
                    <am3d:preTrans dx="-12348837" dy="-18000000" dz="-209302"/>
                    <am3d:scale>
                      <am3d:sx n="1000000" d="1000000"/>
                      <am3d:sy n="1000000" d="1000000"/>
                      <am3d:sz n="1000000" d="1000000"/>
                    </am3d:scale>
                    <am3d:rot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5639563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5" name="3D-Modell 4">
                <a:extLst>
                  <a:ext uri="{FF2B5EF4-FFF2-40B4-BE49-F238E27FC236}">
                    <a16:creationId xmlns:a16="http://schemas.microsoft.com/office/drawing/2014/main" id="{EE6D62E5-D795-4508-98E2-1A2145AE8B6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rot="10800000">
                <a:off x="8388624" y="1660016"/>
                <a:ext cx="2958247" cy="4312022"/>
              </a:xfrm>
              <a:prstGeom prst="rect">
                <a:avLst/>
              </a:prstGeom>
            </p:spPr>
          </p:pic>
        </mc:Fallback>
      </mc:AlternateContent>
      <p:sp>
        <p:nvSpPr>
          <p:cNvPr id="2" name="Textfeld 1">
            <a:extLst>
              <a:ext uri="{FF2B5EF4-FFF2-40B4-BE49-F238E27FC236}">
                <a16:creationId xmlns:a16="http://schemas.microsoft.com/office/drawing/2014/main" id="{C34EE3EB-63A0-44BD-BCDA-B3735DB94192}"/>
              </a:ext>
            </a:extLst>
          </p:cNvPr>
          <p:cNvSpPr txBox="1"/>
          <p:nvPr/>
        </p:nvSpPr>
        <p:spPr>
          <a:xfrm>
            <a:off x="841890" y="2215056"/>
            <a:ext cx="5628290" cy="11285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</a:pPr>
            <a:r>
              <a:rPr lang="de-DE" sz="2000" b="1">
                <a:solidFill>
                  <a:srgbClr val="FF0000"/>
                </a:solidFill>
                <a:latin typeface="ZEISS Frutiger Next W1G"/>
              </a:rPr>
              <a:t>-  </a:t>
            </a:r>
            <a:r>
              <a:rPr lang="de-DE" sz="2000">
                <a:solidFill>
                  <a:srgbClr val="000000"/>
                </a:solidFill>
                <a:latin typeface="ZEISS Frutiger Next W1G"/>
              </a:rPr>
              <a:t>   Eingeschränkter Funktionsumfang</a:t>
            </a:r>
          </a:p>
          <a:p>
            <a:pPr>
              <a:spcAft>
                <a:spcPts val="800"/>
              </a:spcAft>
            </a:pPr>
            <a:r>
              <a:rPr lang="de-DE" sz="2000" b="1">
                <a:solidFill>
                  <a:srgbClr val="FF0000"/>
                </a:solidFill>
              </a:rPr>
              <a:t>-      </a:t>
            </a:r>
            <a:r>
              <a:rPr lang="de-DE" sz="2000">
                <a:solidFill>
                  <a:srgbClr val="000000"/>
                </a:solidFill>
                <a:latin typeface="ZEISS Frutiger Next W1G"/>
              </a:rPr>
              <a:t>Visuell weniger attraktiv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Char char="-"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21FA003-4DF4-4043-881E-D1D0B481D84B}"/>
              </a:ext>
            </a:extLst>
          </p:cNvPr>
          <p:cNvSpPr txBox="1"/>
          <p:nvPr/>
        </p:nvSpPr>
        <p:spPr>
          <a:xfrm>
            <a:off x="843455" y="3816027"/>
            <a:ext cx="5628290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</a:pPr>
            <a:r>
              <a:rPr lang="de-DE" sz="2000" b="1">
                <a:solidFill>
                  <a:srgbClr val="00B050"/>
                </a:solidFill>
                <a:latin typeface="ZEISS Frutiger Next W1G"/>
              </a:rPr>
              <a:t>+</a:t>
            </a:r>
            <a:r>
              <a:rPr lang="de-DE" sz="2000">
                <a:solidFill>
                  <a:srgbClr val="000000"/>
                </a:solidFill>
                <a:latin typeface="ZEISS Frutiger Next W1G"/>
              </a:rPr>
              <a:t>    Einfacher in der Herstellung </a:t>
            </a:r>
          </a:p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</a:pPr>
            <a:r>
              <a:rPr lang="de-DE" sz="2000" b="1">
                <a:solidFill>
                  <a:srgbClr val="00B050"/>
                </a:solidFill>
                <a:latin typeface="ZEISS Frutiger Next W1G"/>
              </a:rPr>
              <a:t>+</a:t>
            </a:r>
            <a:r>
              <a:rPr lang="de-DE" sz="2000">
                <a:solidFill>
                  <a:srgbClr val="000000"/>
                </a:solidFill>
                <a:latin typeface="ZEISS Frutiger Next W1G"/>
              </a:rPr>
              <a:t>    Günstiger</a:t>
            </a:r>
          </a:p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</a:pPr>
            <a:r>
              <a:rPr lang="de-DE" sz="2000" b="1">
                <a:solidFill>
                  <a:srgbClr val="00B050"/>
                </a:solidFill>
                <a:latin typeface="ZEISS Frutiger Next W1G"/>
              </a:rPr>
              <a:t>+</a:t>
            </a:r>
            <a:r>
              <a:rPr lang="de-DE" sz="2000">
                <a:solidFill>
                  <a:srgbClr val="000000"/>
                </a:solidFill>
                <a:latin typeface="ZEISS Frutiger Next W1G"/>
              </a:rPr>
              <a:t>    Weniger Kanten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Char char="-"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1084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8" presetClass="emph" presetSubtype="128" accel="20000" decel="2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sum">
                                        <p:cTn id="6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3d.view.rotation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3330">
                                          <p:val>
                                            <p:fltVal val="6.9747"/>
                                          </p:val>
                                        </p:tav>
                                        <p:tav tm="6660">
                                          <p:val>
                                            <p:fltVal val="12.1039"/>
                                          </p:val>
                                        </p:tav>
                                        <p:tav tm="9990">
                                          <p:val>
                                            <p:fltVal val="15.6713"/>
                                          </p:val>
                                        </p:tav>
                                        <p:tav tm="13320">
                                          <p:val>
                                            <p:fltVal val="17.9604"/>
                                          </p:val>
                                        </p:tav>
                                        <p:tav tm="16650">
                                          <p:val>
                                            <p:fltVal val="19.2548"/>
                                          </p:val>
                                        </p:tav>
                                        <p:tav tm="19970">
                                          <p:val>
                                            <p:fltVal val="19.8371"/>
                                          </p:val>
                                        </p:tav>
                                        <p:tav tm="23290">
                                          <p:val>
                                            <p:fltVal val="19.9936"/>
                                          </p:val>
                                        </p:tav>
                                        <p:tav tm="26620">
                                          <p:val>
                                            <p:fltVal val="19.9945"/>
                                          </p:val>
                                        </p:tav>
                                        <p:tav tm="29950">
                                          <p:val>
                                            <p:fltVal val="19.8447"/>
                                          </p:val>
                                        </p:tav>
                                        <p:tav tm="33280">
                                          <p:val>
                                            <p:fltVal val="19.2733"/>
                                          </p:val>
                                        </p:tav>
                                        <p:tav tm="36610">
                                          <p:val>
                                            <p:fltVal val="17.9968"/>
                                          </p:val>
                                        </p:tav>
                                        <p:tav tm="39940">
                                          <p:val>
                                            <p:fltVal val="15.7316"/>
                                          </p:val>
                                        </p:tav>
                                        <p:tav tm="43270">
                                          <p:val>
                                            <p:fltVal val="12.194"/>
                                          </p:val>
                                        </p:tav>
                                        <p:tav tm="46600">
                                          <p:val>
                                            <p:fltVal val="7.1005"/>
                                          </p:val>
                                        </p:tav>
                                        <p:tav tm="49930">
                                          <p:val>
                                            <p:fltVal val="0.1675"/>
                                          </p:val>
                                        </p:tav>
                                        <p:tav tm="53250">
                                          <p:val>
                                            <p:fltVal val="-6.8299"/>
                                          </p:val>
                                        </p:tav>
                                        <p:tav tm="56580">
                                          <p:val>
                                            <p:fltVal val="-12.0002"/>
                                          </p:val>
                                        </p:tav>
                                        <p:tav tm="59900">
                                          <p:val>
                                            <p:fltVal val="-15.593"/>
                                          </p:val>
                                        </p:tav>
                                        <p:tav tm="63220">
                                          <p:val>
                                            <p:fltVal val="-17.9075"/>
                                          </p:val>
                                        </p:tav>
                                        <p:tav tm="66540">
                                          <p:val>
                                            <p:fltVal val="-19.2249"/>
                                          </p:val>
                                        </p:tav>
                                        <p:tav tm="69870">
                                          <p:val>
                                            <p:fltVal val="-19.8271"/>
                                          </p:val>
                                        </p:tav>
                                        <p:tav tm="73190">
                                          <p:val>
                                            <p:fltVal val="-19.9924"/>
                                          </p:val>
                                        </p:tav>
                                        <p:tav tm="76510">
                                          <p:val>
                                            <p:fltVal val="-19.9955"/>
                                          </p:val>
                                        </p:tav>
                                        <p:tav tm="79830">
                                          <p:val>
                                            <p:fltVal val="-19.8557"/>
                                          </p:val>
                                        </p:tav>
                                        <p:tav tm="83160">
                                          <p:val>
                                            <p:fltVal val="-19.3045"/>
                                          </p:val>
                                        </p:tav>
                                        <p:tav tm="86480">
                                          <p:val>
                                            <p:fltVal val="-18.0634"/>
                                          </p:val>
                                        </p:tav>
                                        <p:tav tm="89800">
                                          <p:val>
                                            <p:fltVal val="-15.8505"/>
                                          </p:val>
                                        </p:tav>
                                        <p:tav tm="93120">
                                          <p:val>
                                            <p:fltVal val="-12.3847"/>
                                          </p:val>
                                        </p:tav>
                                        <p:tav tm="96450">
                                          <p:val>
                                            <p:fltVal val="-7.3674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90A3E6-5FB2-E42F-AEAC-5CC939B1FC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DBE160EF-4ABD-AA08-E870-44CC19B672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Werbegeschenk</a:t>
            </a:r>
            <a:endParaRPr lang="de-DE"/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97A1965C-43A2-0D3A-BCD3-947EA12F623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Designoption – Variante 2 </a:t>
            </a:r>
            <a:endParaRPr lang="de-DE"/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D1567C2E-C340-CA5F-2433-632C5BA9140E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62203F9F-4DF7-4192-B7C7-E9B67E7B4FD4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F0AE70B-52DD-41C2-B405-B61F5C5D9AF4}"/>
              </a:ext>
            </a:extLst>
          </p:cNvPr>
          <p:cNvSpPr txBox="1"/>
          <p:nvPr/>
        </p:nvSpPr>
        <p:spPr>
          <a:xfrm>
            <a:off x="841890" y="2162129"/>
            <a:ext cx="5628290" cy="11285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800"/>
              </a:spcAft>
            </a:pPr>
            <a:r>
              <a:rPr lang="de-DE" sz="2000" b="1">
                <a:solidFill>
                  <a:srgbClr val="FF0000"/>
                </a:solidFill>
              </a:rPr>
              <a:t>-     </a:t>
            </a: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Äußere Kontur kann Gummiband beschädigen</a:t>
            </a:r>
          </a:p>
          <a:p>
            <a:pPr>
              <a:spcAft>
                <a:spcPts val="800"/>
              </a:spcAft>
            </a:pPr>
            <a:r>
              <a:rPr lang="de-DE" sz="2000" b="1">
                <a:solidFill>
                  <a:srgbClr val="FF0000"/>
                </a:solidFill>
              </a:rPr>
              <a:t>-     </a:t>
            </a:r>
            <a:r>
              <a:rPr lang="de-DE" sz="2000">
                <a:solidFill>
                  <a:srgbClr val="000000"/>
                </a:solidFill>
                <a:latin typeface="ZEISS Frutiger Next W1G"/>
              </a:rPr>
              <a:t>Äußere Kontur führt potenziell zu Verletzungen</a:t>
            </a:r>
          </a:p>
          <a:p>
            <a:pPr>
              <a:spcAft>
                <a:spcPts val="800"/>
              </a:spcAft>
            </a:pPr>
            <a:r>
              <a:rPr lang="de-DE" sz="2000" b="1">
                <a:solidFill>
                  <a:srgbClr val="FF0000"/>
                </a:solidFill>
              </a:rPr>
              <a:t>-     </a:t>
            </a: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Höhere Produktionskos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E9C8518-7633-4540-8570-8A0D83BB4076}"/>
              </a:ext>
            </a:extLst>
          </p:cNvPr>
          <p:cNvSpPr txBox="1"/>
          <p:nvPr/>
        </p:nvSpPr>
        <p:spPr>
          <a:xfrm>
            <a:off x="841890" y="4048966"/>
            <a:ext cx="5628290" cy="7181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800"/>
              </a:spcAft>
            </a:pPr>
            <a:r>
              <a:rPr lang="de-DE" sz="2000" b="1">
                <a:solidFill>
                  <a:srgbClr val="00B050"/>
                </a:solidFill>
              </a:rPr>
              <a:t>+    </a:t>
            </a: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Vielseitigere Nutzungsmöglichkeiten</a:t>
            </a:r>
          </a:p>
          <a:p>
            <a:pPr>
              <a:spcAft>
                <a:spcPts val="800"/>
              </a:spcAft>
            </a:pPr>
            <a:r>
              <a:rPr lang="de-DE" sz="2000" b="1">
                <a:solidFill>
                  <a:srgbClr val="00B050"/>
                </a:solidFill>
              </a:rPr>
              <a:t>+    </a:t>
            </a:r>
            <a:r>
              <a:rPr lang="de-DE" sz="2000">
                <a:solidFill>
                  <a:srgbClr val="000000"/>
                </a:solidFill>
                <a:latin typeface="ZEISS Frutiger Next W1G"/>
              </a:rPr>
              <a:t>Technisch attraktives Aussehen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2" name="3D-Modell 1">
                <a:extLst>
                  <a:ext uri="{FF2B5EF4-FFF2-40B4-BE49-F238E27FC236}">
                    <a16:creationId xmlns:a16="http://schemas.microsoft.com/office/drawing/2014/main" id="{9AF3E1BA-E85E-A501-8738-C45D146AA5F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58038147"/>
                  </p:ext>
                </p:extLst>
              </p:nvPr>
            </p:nvGraphicFramePr>
            <p:xfrm rot="10800000">
              <a:off x="8490774" y="1709932"/>
              <a:ext cx="2958248" cy="4312020"/>
            </p:xfrm>
            <a:graphic>
              <a:graphicData uri="http://schemas.microsoft.com/office/drawing/2017/model3d">
                <am3d:model3d r:embed="rId2">
                  <am3d:spPr>
                    <a:xfrm rot="10800000">
                      <a:off x="0" y="0"/>
                      <a:ext cx="2958248" cy="4312020"/>
                    </a:xfrm>
                    <a:prstGeom prst="rect">
                      <a:avLst/>
                    </a:prstGeom>
                  </am3d:spPr>
                  <am3d:camera>
                    <am3d:pos x="0" y="0" z="57043860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1627" d="1000000"/>
                    <am3d:preTrans dx="-12348837" dy="-18000000" dz="-209302"/>
                    <am3d:scale>
                      <am3d:sx n="1000000" d="1000000"/>
                      <am3d:sy n="1000000" d="1000000"/>
                      <am3d:sz n="1000000" d="1000000"/>
                    </am3d:scale>
                    <am3d:rot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5639562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2" name="3D-Modell 1">
                <a:extLst>
                  <a:ext uri="{FF2B5EF4-FFF2-40B4-BE49-F238E27FC236}">
                    <a16:creationId xmlns:a16="http://schemas.microsoft.com/office/drawing/2014/main" id="{9AF3E1BA-E85E-A501-8738-C45D146AA5F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rot="10800000">
                <a:off x="8490774" y="1709932"/>
                <a:ext cx="2958248" cy="43120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5851742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8" presetClass="emph" presetSubtype="128" accel="20000" decel="2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sum">
                                        <p:cTn id="6" dur="5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3d.view.rotation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3330">
                                          <p:val>
                                            <p:fltVal val="6.9747"/>
                                          </p:val>
                                        </p:tav>
                                        <p:tav tm="6660">
                                          <p:val>
                                            <p:fltVal val="12.1039"/>
                                          </p:val>
                                        </p:tav>
                                        <p:tav tm="9990">
                                          <p:val>
                                            <p:fltVal val="15.6713"/>
                                          </p:val>
                                        </p:tav>
                                        <p:tav tm="13320">
                                          <p:val>
                                            <p:fltVal val="17.9604"/>
                                          </p:val>
                                        </p:tav>
                                        <p:tav tm="16650">
                                          <p:val>
                                            <p:fltVal val="19.2548"/>
                                          </p:val>
                                        </p:tav>
                                        <p:tav tm="19970">
                                          <p:val>
                                            <p:fltVal val="19.8371"/>
                                          </p:val>
                                        </p:tav>
                                        <p:tav tm="23290">
                                          <p:val>
                                            <p:fltVal val="19.9936"/>
                                          </p:val>
                                        </p:tav>
                                        <p:tav tm="26620">
                                          <p:val>
                                            <p:fltVal val="19.9945"/>
                                          </p:val>
                                        </p:tav>
                                        <p:tav tm="29950">
                                          <p:val>
                                            <p:fltVal val="19.8447"/>
                                          </p:val>
                                        </p:tav>
                                        <p:tav tm="33280">
                                          <p:val>
                                            <p:fltVal val="19.2733"/>
                                          </p:val>
                                        </p:tav>
                                        <p:tav tm="36610">
                                          <p:val>
                                            <p:fltVal val="17.9968"/>
                                          </p:val>
                                        </p:tav>
                                        <p:tav tm="39940">
                                          <p:val>
                                            <p:fltVal val="15.7316"/>
                                          </p:val>
                                        </p:tav>
                                        <p:tav tm="43270">
                                          <p:val>
                                            <p:fltVal val="12.194"/>
                                          </p:val>
                                        </p:tav>
                                        <p:tav tm="46600">
                                          <p:val>
                                            <p:fltVal val="7.1005"/>
                                          </p:val>
                                        </p:tav>
                                        <p:tav tm="49930">
                                          <p:val>
                                            <p:fltVal val="0.1675"/>
                                          </p:val>
                                        </p:tav>
                                        <p:tav tm="53250">
                                          <p:val>
                                            <p:fltVal val="-6.8299"/>
                                          </p:val>
                                        </p:tav>
                                        <p:tav tm="56580">
                                          <p:val>
                                            <p:fltVal val="-12.0002"/>
                                          </p:val>
                                        </p:tav>
                                        <p:tav tm="59900">
                                          <p:val>
                                            <p:fltVal val="-15.593"/>
                                          </p:val>
                                        </p:tav>
                                        <p:tav tm="63220">
                                          <p:val>
                                            <p:fltVal val="-17.9075"/>
                                          </p:val>
                                        </p:tav>
                                        <p:tav tm="66540">
                                          <p:val>
                                            <p:fltVal val="-19.2249"/>
                                          </p:val>
                                        </p:tav>
                                        <p:tav tm="69870">
                                          <p:val>
                                            <p:fltVal val="-19.8271"/>
                                          </p:val>
                                        </p:tav>
                                        <p:tav tm="73190">
                                          <p:val>
                                            <p:fltVal val="-19.9924"/>
                                          </p:val>
                                        </p:tav>
                                        <p:tav tm="76510">
                                          <p:val>
                                            <p:fltVal val="-19.9955"/>
                                          </p:val>
                                        </p:tav>
                                        <p:tav tm="79830">
                                          <p:val>
                                            <p:fltVal val="-19.8557"/>
                                          </p:val>
                                        </p:tav>
                                        <p:tav tm="83160">
                                          <p:val>
                                            <p:fltVal val="-19.3045"/>
                                          </p:val>
                                        </p:tav>
                                        <p:tav tm="86480">
                                          <p:val>
                                            <p:fltVal val="-18.0634"/>
                                          </p:val>
                                        </p:tav>
                                        <p:tav tm="89800">
                                          <p:val>
                                            <p:fltVal val="-15.8505"/>
                                          </p:val>
                                        </p:tav>
                                        <p:tav tm="93120">
                                          <p:val>
                                            <p:fltVal val="-12.3847"/>
                                          </p:val>
                                        </p:tav>
                                        <p:tav tm="96450">
                                          <p:val>
                                            <p:fltVal val="-7.3674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90A3E6-5FB2-E42F-AEAC-5CC939B1FC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DBE160EF-4ABD-AA08-E870-44CC19B672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Werbegeschenk</a:t>
            </a:r>
            <a:endParaRPr lang="de-DE"/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97A1965C-43A2-0D3A-BCD3-947EA12F623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Designoption – Variante 3</a:t>
            </a:r>
            <a:endParaRPr lang="de-DE"/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D1567C2E-C340-CA5F-2433-632C5BA9140E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62203F9F-4DF7-4192-B7C7-E9B67E7B4FD4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8</a:t>
            </a:fld>
            <a:endParaRPr lang="de-DE"/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3" name="3D-Modell 2">
                <a:extLst>
                  <a:ext uri="{FF2B5EF4-FFF2-40B4-BE49-F238E27FC236}">
                    <a16:creationId xmlns:a16="http://schemas.microsoft.com/office/drawing/2014/main" id="{466584C2-2C21-487F-99EB-270947826A6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384937054"/>
                  </p:ext>
                </p:extLst>
              </p:nvPr>
            </p:nvGraphicFramePr>
            <p:xfrm rot="10800000">
              <a:off x="8390190" y="1639668"/>
              <a:ext cx="2958248" cy="4312020"/>
            </p:xfrm>
            <a:graphic>
              <a:graphicData uri="http://schemas.microsoft.com/office/drawing/2017/model3d">
                <am3d:model3d r:embed="rId2">
                  <am3d:spPr>
                    <a:xfrm rot="10800000">
                      <a:off x="0" y="0"/>
                      <a:ext cx="2958248" cy="4312020"/>
                    </a:xfrm>
                    <a:prstGeom prst="rect">
                      <a:avLst/>
                    </a:prstGeom>
                  </am3d:spPr>
                  <am3d:camera>
                    <am3d:pos x="0" y="0" z="57043860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1627" d="1000000"/>
                    <am3d:preTrans dx="-12348837" dy="-18000000" dz="-209302"/>
                    <am3d:scale>
                      <am3d:sx n="1000000" d="1000000"/>
                      <am3d:sy n="1000000" d="1000000"/>
                      <am3d:sz n="1000000" d="1000000"/>
                    </am3d:scale>
                    <am3d:rot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5639562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3" name="3D-Modell 2">
                <a:extLst>
                  <a:ext uri="{FF2B5EF4-FFF2-40B4-BE49-F238E27FC236}">
                    <a16:creationId xmlns:a16="http://schemas.microsoft.com/office/drawing/2014/main" id="{466584C2-2C21-487F-99EB-270947826A6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rot="10800000">
                <a:off x="8390190" y="1639668"/>
                <a:ext cx="2958248" cy="4312020"/>
              </a:xfrm>
              <a:prstGeom prst="rect">
                <a:avLst/>
              </a:prstGeom>
            </p:spPr>
          </p:pic>
        </mc:Fallback>
      </mc:AlternateContent>
      <p:sp>
        <p:nvSpPr>
          <p:cNvPr id="9" name="Textfeld 8">
            <a:extLst>
              <a:ext uri="{FF2B5EF4-FFF2-40B4-BE49-F238E27FC236}">
                <a16:creationId xmlns:a16="http://schemas.microsoft.com/office/drawing/2014/main" id="{FF18D207-05A0-4077-9520-789C7A5E5577}"/>
              </a:ext>
            </a:extLst>
          </p:cNvPr>
          <p:cNvSpPr txBox="1"/>
          <p:nvPr/>
        </p:nvSpPr>
        <p:spPr>
          <a:xfrm>
            <a:off x="841889" y="2352320"/>
            <a:ext cx="6482455" cy="7181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800"/>
              </a:spcAft>
            </a:pPr>
            <a:r>
              <a:rPr lang="de-DE" sz="2000" b="1">
                <a:solidFill>
                  <a:srgbClr val="FF0000"/>
                </a:solidFill>
              </a:rPr>
              <a:t>-     </a:t>
            </a: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Eingeschränkte Nutzbarkeit</a:t>
            </a:r>
          </a:p>
          <a:p>
            <a:pPr>
              <a:spcAft>
                <a:spcPts val="800"/>
              </a:spcAft>
            </a:pPr>
            <a:r>
              <a:rPr lang="de-DE" sz="2000" b="1">
                <a:solidFill>
                  <a:srgbClr val="FF0000"/>
                </a:solidFill>
              </a:rPr>
              <a:t>-     </a:t>
            </a:r>
            <a:r>
              <a:rPr lang="de-DE" sz="2000">
                <a:solidFill>
                  <a:srgbClr val="000000"/>
                </a:solidFill>
                <a:latin typeface="ZEISS Frutiger Next W1G"/>
              </a:rPr>
              <a:t>Komplexere Form kann zu teurerer Herstellung führen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470E272-51C5-4ECD-B656-566C7880160F}"/>
              </a:ext>
            </a:extLst>
          </p:cNvPr>
          <p:cNvSpPr txBox="1"/>
          <p:nvPr/>
        </p:nvSpPr>
        <p:spPr>
          <a:xfrm>
            <a:off x="841889" y="3966893"/>
            <a:ext cx="6755943" cy="11285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800"/>
              </a:spcAft>
            </a:pPr>
            <a:r>
              <a:rPr lang="de-DE" sz="2000" b="1">
                <a:solidFill>
                  <a:srgbClr val="00B050"/>
                </a:solidFill>
              </a:rPr>
              <a:t>+</a:t>
            </a: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    Hohe Funktionalität</a:t>
            </a:r>
          </a:p>
          <a:p>
            <a:pPr>
              <a:spcAft>
                <a:spcPts val="800"/>
              </a:spcAft>
            </a:pPr>
            <a:r>
              <a:rPr lang="de-DE" sz="2000" b="1">
                <a:solidFill>
                  <a:srgbClr val="00B050"/>
                </a:solidFill>
              </a:rPr>
              <a:t>+</a:t>
            </a:r>
            <a:r>
              <a:rPr lang="de-DE" sz="2000">
                <a:solidFill>
                  <a:srgbClr val="000000"/>
                </a:solidFill>
                <a:latin typeface="ZEISS Frutiger Next W1G"/>
              </a:rPr>
              <a:t>    Design wirkt optisch modern und Funktional</a:t>
            </a:r>
          </a:p>
          <a:p>
            <a:pPr>
              <a:spcAft>
                <a:spcPts val="800"/>
              </a:spcAft>
            </a:pPr>
            <a:r>
              <a:rPr lang="de-DE" sz="2000" b="1">
                <a:solidFill>
                  <a:srgbClr val="00B050"/>
                </a:solidFill>
              </a:rPr>
              <a:t>+</a:t>
            </a: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    </a:t>
            </a:r>
            <a:r>
              <a:rPr lang="de-DE" sz="2000">
                <a:solidFill>
                  <a:srgbClr val="000000"/>
                </a:solidFill>
                <a:latin typeface="ZEISS Frutiger Next W1G"/>
              </a:rPr>
              <a:t>Kaum scharfe Kanten erhöhen Tragekomfort und Sicherheit</a:t>
            </a: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06895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8" presetClass="emph" presetSubtype="128" accel="20000" decel="2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sum">
                                        <p:cTn id="6" dur="5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3d.view.rotation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3330">
                                          <p:val>
                                            <p:fltVal val="6.9747"/>
                                          </p:val>
                                        </p:tav>
                                        <p:tav tm="6660">
                                          <p:val>
                                            <p:fltVal val="12.1039"/>
                                          </p:val>
                                        </p:tav>
                                        <p:tav tm="9990">
                                          <p:val>
                                            <p:fltVal val="15.6713"/>
                                          </p:val>
                                        </p:tav>
                                        <p:tav tm="13320">
                                          <p:val>
                                            <p:fltVal val="17.9604"/>
                                          </p:val>
                                        </p:tav>
                                        <p:tav tm="16650">
                                          <p:val>
                                            <p:fltVal val="19.2548"/>
                                          </p:val>
                                        </p:tav>
                                        <p:tav tm="19970">
                                          <p:val>
                                            <p:fltVal val="19.8371"/>
                                          </p:val>
                                        </p:tav>
                                        <p:tav tm="23290">
                                          <p:val>
                                            <p:fltVal val="19.9936"/>
                                          </p:val>
                                        </p:tav>
                                        <p:tav tm="26620">
                                          <p:val>
                                            <p:fltVal val="19.9945"/>
                                          </p:val>
                                        </p:tav>
                                        <p:tav tm="29950">
                                          <p:val>
                                            <p:fltVal val="19.8447"/>
                                          </p:val>
                                        </p:tav>
                                        <p:tav tm="33280">
                                          <p:val>
                                            <p:fltVal val="19.2733"/>
                                          </p:val>
                                        </p:tav>
                                        <p:tav tm="36610">
                                          <p:val>
                                            <p:fltVal val="17.9968"/>
                                          </p:val>
                                        </p:tav>
                                        <p:tav tm="39940">
                                          <p:val>
                                            <p:fltVal val="15.7316"/>
                                          </p:val>
                                        </p:tav>
                                        <p:tav tm="43270">
                                          <p:val>
                                            <p:fltVal val="12.194"/>
                                          </p:val>
                                        </p:tav>
                                        <p:tav tm="46600">
                                          <p:val>
                                            <p:fltVal val="7.1005"/>
                                          </p:val>
                                        </p:tav>
                                        <p:tav tm="49930">
                                          <p:val>
                                            <p:fltVal val="0.1675"/>
                                          </p:val>
                                        </p:tav>
                                        <p:tav tm="53250">
                                          <p:val>
                                            <p:fltVal val="-6.8299"/>
                                          </p:val>
                                        </p:tav>
                                        <p:tav tm="56580">
                                          <p:val>
                                            <p:fltVal val="-12.0002"/>
                                          </p:val>
                                        </p:tav>
                                        <p:tav tm="59900">
                                          <p:val>
                                            <p:fltVal val="-15.593"/>
                                          </p:val>
                                        </p:tav>
                                        <p:tav tm="63220">
                                          <p:val>
                                            <p:fltVal val="-17.9075"/>
                                          </p:val>
                                        </p:tav>
                                        <p:tav tm="66540">
                                          <p:val>
                                            <p:fltVal val="-19.2249"/>
                                          </p:val>
                                        </p:tav>
                                        <p:tav tm="69870">
                                          <p:val>
                                            <p:fltVal val="-19.8271"/>
                                          </p:val>
                                        </p:tav>
                                        <p:tav tm="73190">
                                          <p:val>
                                            <p:fltVal val="-19.9924"/>
                                          </p:val>
                                        </p:tav>
                                        <p:tav tm="76510">
                                          <p:val>
                                            <p:fltVal val="-19.9955"/>
                                          </p:val>
                                        </p:tav>
                                        <p:tav tm="79830">
                                          <p:val>
                                            <p:fltVal val="-19.8557"/>
                                          </p:val>
                                        </p:tav>
                                        <p:tav tm="83160">
                                          <p:val>
                                            <p:fltVal val="-19.3045"/>
                                          </p:val>
                                        </p:tav>
                                        <p:tav tm="86480">
                                          <p:val>
                                            <p:fltVal val="-18.0634"/>
                                          </p:val>
                                        </p:tav>
                                        <p:tav tm="89800">
                                          <p:val>
                                            <p:fltVal val="-15.8505"/>
                                          </p:val>
                                        </p:tav>
                                        <p:tav tm="93120">
                                          <p:val>
                                            <p:fltVal val="-12.3847"/>
                                          </p:val>
                                        </p:tav>
                                        <p:tav tm="96450">
                                          <p:val>
                                            <p:fltVal val="-7.3674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10445C-57BF-F698-0CD7-B23E87C615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>
            <a:extLst>
              <a:ext uri="{FF2B5EF4-FFF2-40B4-BE49-F238E27FC236}">
                <a16:creationId xmlns:a16="http://schemas.microsoft.com/office/drawing/2014/main" id="{C84736C6-CB28-D1A2-289A-FE574734E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Werbegeschenk</a:t>
            </a:r>
            <a:endParaRPr lang="de-DE"/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62A007F5-9D9B-A024-5E96-85397B60CE8A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de-DE">
                <a:cs typeface="Arial"/>
              </a:rPr>
              <a:t>Finales Design</a:t>
            </a:r>
          </a:p>
        </p:txBody>
      </p:sp>
      <p:sp>
        <p:nvSpPr>
          <p:cNvPr id="26" name="Datumsplatzhalter 25">
            <a:extLst>
              <a:ext uri="{FF2B5EF4-FFF2-40B4-BE49-F238E27FC236}">
                <a16:creationId xmlns:a16="http://schemas.microsoft.com/office/drawing/2014/main" id="{E5F5039E-33E0-00A3-7059-EB7AB85F03AA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595DC657-C01B-431D-91F7-EAB19829DFC3}" type="datetime4">
              <a:rPr lang="de-DE" smtClean="0"/>
              <a:t>25. Juni 2025</a:t>
            </a:fld>
            <a:endParaRPr lang="de-DE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C565AAD6-946E-772F-9D3E-8D20D9E84CCA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de-DE" smtClean="0"/>
              <a:pPr/>
              <a:t>9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EEAFA82-0EB9-47AD-9110-E9D74C870F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9017" y="1512610"/>
            <a:ext cx="3140594" cy="4530692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22C04358-03CB-40BD-A771-BA1DE3A042D4}"/>
              </a:ext>
            </a:extLst>
          </p:cNvPr>
          <p:cNvSpPr txBox="1"/>
          <p:nvPr/>
        </p:nvSpPr>
        <p:spPr>
          <a:xfrm>
            <a:off x="841890" y="2803330"/>
            <a:ext cx="3563855" cy="1949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Sandgestrahlter Edelstahl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Oberteil Dicke 1 mm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Unterteil Dicke 3,2 mm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Neodym-Eisen-Bor Magnete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00640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b468f759-76e0-4d03-bd06-9d48572d903c"/>
  <p:tag name="EE4P_AGENDAWIZARD" val="&lt;ee4p&gt;&lt;layouts&gt;&lt;layout name=&quot;Section Divider Agenda&quot; id=&quot;491_1&quot;&gt;&lt;standard&gt;&lt;textframe horizontalAnchor=&quot;1&quot; marginBottom=&quot;0&quot; marginLeft=&quot;0&quot; marginRight=&quot;0&quot; marginTop=&quot;0&quot; orientation=&quot;1&quot; verticalAnchor=&quot;1&quot; /&gt;&lt;font name=&quot;+mn-lt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1&quot; fontSize=&quot;1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5.71654&quot; /&gt;&lt;column field=&quot;topic&quot; label=&quot;Topic&quot; leftSpacing=&quot;11.36126&quot; rightDistribute=&quot;1&quot; dock=&quot;1&quot; /&gt;&lt;column field=&quot;responsible&quot; label=&quot;Responsible&quot; visible=&quot;1&quot; checked=&quot;0&quot; leftSpacing=&quot;10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20&quot; rightSpacing=&quot;0&quot; dock=&quot;2&quot; /&gt;&lt;column field=&quot;pageno&quot; label=&quot;Page No.&quot; visible=&quot;0&quot; checked=&quot;0&quot; leftSpacing=&quot;20&quot; rightSpacing=&quot;0&quot; dock=&quot;2&quot; /&gt;&lt;/columns&gt;&lt;position left=&quot;40.81252&quot; top=&quot;133.7706&quot; width=&quot;878.7402&quot; height=&quot;351.4961&quot; /&gt;&lt;settings allowedSizingModeIds=&quot;1|2&quot; allowedFontSizes=&quot;8|9|10|10.5|11|12|14|16|18&quot; allowedTimeFormatIds=&quot;1|2|3&quot; slideLayout=&quot;11&quot; customLayoutNameSingle=&quot;&quot; customLayoutName=&quot;Section Divider#Kapiteltrenner#Section Divider&quot; customLayoutSeparators=&quot;#&quot; customLayoutIndex=&quot;&quot; showBreak=&quot;1&quot; singleAgendaSlideSelected=&quot;0&quot; backupSlideTitle=&quot;Backup: %agendaName%&quot; topMargin=&quot;0&quot; leftMargin=&quot;0&quot; allowedLevels=&quot;2&quot; itemNoFormats=&quot;{1:2}¦{1}.{2}&quot; /&gt;&lt;cases&gt;&lt;case level=&quot;1&quot; selected=&quot;0&quot; break=&quot;0&quot; topMinSpacing=&quot;10.5&quot; topMaxSpacing=&quot;10.5&quot; bottomMinSpacing=&quot;0&quot; bottomMaxSpacing=&quot;0&quot;&gt;&lt;element type=&quot;line&quot; value=&quot;&quot; filter=&quot;2&quot;&gt;&lt;position left=&quot;0&quot; top=&quot;itemHeight+5.25*scale*fontScale&quot; width=&quot;agendaWidth&quot; height=&quot;0&quot; /&gt;&lt;line style=&quot;1&quot; dashStyle=&quot;1&quot; foreColor=&quot;#dce3e9&quot; transparency=&quot;0&quot; visible=&quot;1&quot; weight=&quot;0.75&quot; /&gt;&lt;/element&gt;&lt;element type=&quot;line&quot; value=&quot;&quot;&gt;&lt;position left=&quot;0&quot; top=&quot;-5.25*scale*fontScale&quot; width=&quot;agendaWidth&quot; height=&quot;0&quot; /&gt;&lt;line style=&quot;1&quot; dashStyle=&quot;1&quot; foreColor=&quot;#dce3e9&quot; transparency=&quot;0&quot; visible=&quot;1&quot; weight=&quot;0.75&quot; /&gt;&lt;/element&gt;&lt;element field=&quot;itemno&quot; type=&quot;autoshape&quot; autoShapeType=&quot;1&quot;&gt;&lt;textframe verticalAnchor=&quot;3&quot; marginRight=&quot;0&quot; /&gt;&lt;paragraphformat alignment=&quot;1&quot; /&gt;&lt;font color=&quot;#0f2db3&quot; bold=&quot;1&quot; relativeSize=&quot;2&quot; /&gt;&lt;/element&gt;&lt;element field=&quot;topic&quot; type=&quot;autoshape&quot; autoShapeType=&quot;1&quot;&gt;&lt;paragraphformat alignment=&quot;1&quot; /&gt;&lt;textframe marginLeft=&quot;0&quot; verticalAnchor=&quot;3&quot; /&gt;&lt;/element&gt;&lt;element field=&quot;responsible&quot; type=&quot;autoshape&quot; autoShapeType=&quot;1&quot;&gt;&lt;paragraphformat alignment=&quot;1&quot; /&gt;&lt;textframe marginLeft=&quot;0&quot; verticalAnchor=&quot;3&quot; /&gt;&lt;/element&gt;&lt;element field=&quot;timeslot&quot; type=&quot;autoshape&quot; autoShapeType=&quot;1&quot;&gt;&lt;paragraphformat alignment=&quot;1&quot; /&gt;&lt;textframe marginLeft=&quot;0&quot; verticalAnchor=&quot;3&quot; /&gt;&lt;/element&gt;&lt;element field=&quot;pageno&quot; type=&quot;autoshape&quot; autoShapeType=&quot;1&quot;&gt;&lt;paragraphformat alignment=&quot;3&quot; /&gt;&lt;textframe marginLeft=&quot;0&quot; verticalAnchor=&quot;3&quot; /&gt;&lt;/element&gt;&lt;/case&gt;&lt;case level=&quot;1&quot; selected=&quot;1&quot; break=&quot;0&quot; topMinSpacing=&quot;10.5&quot; topMaxSpacing=&quot;10.5&quot; bottomMinSpacing=&quot;0&quot; bottomMaxSpacing=&quot;0&quot;&gt;&lt;element type=&quot;autoshape&quot; autoShapeType=&quot;1&quot; value=&quot;&quot;&gt;&lt;position left=&quot;-40.81252&quot; top=&quot;-5.25*scale*fontScale&quot; width=&quot;960&quot; height=&quot;1.25+itemHeight+10.5*scale*fontScale&quot; /&gt;&lt;fill foreColor=&quot;#0f2db3&quot; visible=&quot;1&quot; /&gt;&lt;/element&gt;&lt;element field=&quot;itemno&quot; type=&quot;autoshape&quot; autoShapeType=&quot;1&quot;&gt;&lt;textframe verticalAnchor=&quot;3&quot; marginRight=&quot;0&quot; /&gt;&lt;paragraphformat alignment=&quot;1&quot; /&gt;&lt;font color=&quot;14&quot; bold=&quot;1&quot; relativeSize=&quot;2&quot; /&gt;&lt;/element&gt;&lt;element field=&quot;topic&quot; type=&quot;autoshape&quot; autoShapeType=&quot;1&quot;&gt;&lt;paragraphformat alignment=&quot;1&quot; /&gt;&lt;textframe marginLeft=&quot;0&quot; verticalAnchor=&quot;3&quot; /&gt;&lt;font color=&quot;14&quot; /&gt;&lt;/element&gt;&lt;element field=&quot;responsible&quot; type=&quot;autoshape&quot; autoShapeType=&quot;1&quot;&gt;&lt;paragraphformat alignment=&quot;1&quot; /&gt;&lt;textframe marginLeft=&quot;0&quot; verticalAnchor=&quot;3&quot; /&gt;&lt;font color=&quot;14&quot; /&gt;&lt;/element&gt;&lt;element field=&quot;timeslot&quot; type=&quot;autoshape&quot; autoShapeType=&quot;1&quot;&gt;&lt;paragraphformat alignment=&quot;1&quot; /&gt;&lt;textframe marginLeft=&quot;0&quot; verticalAnchor=&quot;3&quot; /&gt;&lt;font color=&quot;14&quot; /&gt;&lt;/element&gt;&lt;element field=&quot;pageno&quot; type=&quot;autoshape&quot; autoShapeType=&quot;1&quot;&gt;&lt;paragraphformat alignment=&quot;3&quot; /&gt;&lt;textframe marginLeft=&quot;0&quot; verticalAnchor=&quot;3&quot; /&gt;&lt;font color=&quot;14&quot; /&gt;&lt;/element&gt;&lt;/case&gt;&lt;case level=&quot;2&quot; selected=&quot;0&quot; break=&quot;0&quot; topMinSpacing=&quot;10.5&quot; topMaxSpacing=&quot;10.5&quot; bottomMinSpacing=&quot;0&quot; bottomMaxSpacing=&quot;0&quot;&gt;&lt;element type=&quot;line&quot; value=&quot;&quot; filter=&quot;2&quot;&gt;&lt;position left=&quot;0&quot; top=&quot;itemHeight+5.25*scale*fontScale&quot; width=&quot;agendaWidth&quot; height=&quot;0&quot; /&gt;&lt;line style=&quot;1&quot; dashStyle=&quot;1&quot; foreColor=&quot;#dce3e9&quot; transparency=&quot;0&quot; visible=&quot;1&quot; weight=&quot;0.75&quot; /&gt;&lt;/element&gt;&lt;element type=&quot;line&quot; value=&quot;&quot;&gt;&lt;position left=&quot;35.71654*scale*fontScale&quot; top=&quot;-5.25*scale*fontScale&quot; width=&quot;agendaWidth-35.71654*scale*fontScale&quot; height=&quot;0&quot; /&gt;&lt;line style=&quot;1&quot; dashStyle=&quot;1&quot; foreColor=&quot;#dce3e9&quot; transparency=&quot;0&quot; visible=&quot;1&quot; weight=&quot;0.75&quot; /&gt;&lt;/element&gt;&lt;element field=&quot;itemno&quot; type=&quot;autoshape&quot; autoShapeType=&quot;1&quot; indent=&quot;(level-1)*(itemSingleHeight+topicLeftSpacing+1.788425)&quot; indentType=&quot;1&quot;&gt;&lt;position height=&quot;33.92811*scale*fontScale&quot; /&gt;&lt;textframe verticalAnchor=&quot;3&quot; marginRight=&quot;0&quot; /&gt;&lt;paragraphformat alignment=&quot;1&quot; /&gt;&lt;/element&gt;&lt;element field=&quot;topic&quot; type=&quot;autoshape&quot; autoShapeType=&quot;1&quot; indent=&quot;(level-1)*(itemSingleHeight)&quot; indentType=&quot;2&quot;&gt;&lt;paragraphformat alignment=&quot;1&quot; /&gt;&lt;textframe marginLeft=&quot;0&quot; verticalAnchor=&quot;3&quot; /&gt;&lt;/element&gt;&lt;element field=&quot;responsible&quot; type=&quot;autoshape&quot; autoShapeType=&quot;1&quot; indent=&quot;(level-1)*(itemSingleHeight)&quot; indentType=&quot;1&quot;&gt;&lt;paragraphformat alignment=&quot;1&quot; /&gt;&lt;textframe marginLeft=&quot;0&quot; verticalAnchor=&quot;3&quot; /&gt;&lt;/element&gt;&lt;element field=&quot;timeslot&quot; type=&quot;autoshape&quot; autoShapeType=&quot;1&quot;&gt;&lt;paragraphformat alignment=&quot;1&quot; /&gt;&lt;textframe marginLeft=&quot;0&quot; verticalAnchor=&quot;3&quot; /&gt;&lt;/element&gt;&lt;element field=&quot;pageno&quot; type=&quot;autoshape&quot; autoShapeType=&quot;1&quot;&gt;&lt;paragraphformat alignment=&quot;3&quot; /&gt;&lt;textframe marginLeft=&quot;0&quot; verticalAnchor=&quot;3&quot; /&gt;&lt;/element&gt;&lt;/case&gt;&lt;case level=&quot;2&quot; selected=&quot;1&quot; break=&quot;0&quot; topMinSpacing=&quot;10.5&quot; topMaxSpacing=&quot;10.5&quot; bottomMinSpacing=&quot;0&quot; bottomMaxSpacing=&quot;0&quot;&gt;&lt;element type=&quot;autoshape&quot; autoShapeType=&quot;1&quot; value=&quot;&quot;&gt;&lt;position left=&quot;-40.81252&quot; top=&quot;-5.25*scale*fontScale&quot; width=&quot;960&quot; height=&quot;1.25+itemHeight+10.5*scale*fontScale&quot; /&gt;&lt;fill foreColor=&quot;#0f2db3&quot; visible=&quot;1&quot; /&gt;&lt;/element&gt;&lt;element field=&quot;itemno&quot; type=&quot;autoshape&quot; autoShapeType=&quot;1&quot; indent=&quot;(level-1)*(itemSingleHeight+topicLeftSpacing+1.788425)&quot; indentType=&quot;1&quot;&gt;&lt;position height=&quot;33.92811*scale*fontScale&quot; /&gt;&lt;textframe verticalAnchor=&quot;3&quot; marginRight=&quot;0&quot; /&gt;&lt;paragraphformat alignment=&quot;1&quot; /&gt;&lt;font color=&quot;14&quot; /&gt;&lt;/element&gt;&lt;element field=&quot;topic&quot; type=&quot;autoshape&quot; autoShapeType=&quot;1&quot; indent=&quot;(level-1)*(itemSingleHeight)&quot; indentType=&quot;2&quot;&gt;&lt;paragraphformat alignment=&quot;1&quot; /&gt;&lt;textframe marginLeft=&quot;0&quot; verticalAnchor=&quot;3&quot; /&gt;&lt;font color=&quot;14&quot; /&gt;&lt;/element&gt;&lt;element field=&quot;responsible&quot; type=&quot;autoshape&quot; autoShapeType=&quot;1&quot; indent=&quot;(level-1)*(itemSingleHeight)&quot; indentType=&quot;1&quot;&gt;&lt;paragraphformat alignment=&quot;1&quot; /&gt;&lt;textframe marginLeft=&quot;0&quot; verticalAnchor=&quot;3&quot; /&gt;&lt;font color=&quot;14&quot; /&gt;&lt;/element&gt;&lt;element field=&quot;timeslot&quot; type=&quot;autoshape&quot; autoShapeType=&quot;1&quot;&gt;&lt;paragraphformat alignment=&quot;1&quot; /&gt;&lt;textframe marginLeft=&quot;0&quot; verticalAnchor=&quot;3&quot; /&gt;&lt;font color=&quot;14&quot; /&gt;&lt;/element&gt;&lt;element field=&quot;pageno&quot; type=&quot;autoshape&quot; autoShapeType=&quot;1&quot;&gt;&lt;paragraphformat alignment=&quot;3&quot; /&gt;&lt;textframe marginLeft=&quot;0&quot; verticalAnchor=&quot;3&quot; /&gt;&lt;font color=&quot;14&quot; /&gt;&lt;/element&gt;&lt;/case&gt;&lt;case level=&quot;1&quot; selected=&quot;0&quot; break=&quot;1&quot; topMinSpacing=&quot;10.5&quot; topMaxSpacing=&quot;10.5&quot; bottomMinSpacing=&quot;0&quot; bottomMaxSpacing=&quot;0&quot;&gt;&lt;element type=&quot;line&quot; value=&quot;&quot; filter=&quot;2&quot;&gt;&lt;position left=&quot;0&quot; top=&quot;itemHeight+5.25scale*fontScale&quot; width=&quot;agendaWidth&quot; height=&quot;0&quot; /&gt;&lt;line style=&quot;1&quot; dashStyle=&quot;1&quot; foreColor=&quot;#dce3e9&quot; transparency=&quot;0&quot; visible=&quot;1&quot; weight=&quot;0.75&quot; /&gt;&lt;/element&gt;&lt;element type=&quot;line&quot; value=&quot;&quot;&gt;&lt;position left=&quot;0&quot; top=&quot;-5.25*scale*fontScale&quot; width=&quot;agendaWidth&quot; height=&quot;0&quot; /&gt;&lt;line style=&quot;1&quot; dashStyle=&quot;1&quot; foreColor=&quot;#dce3e9&quot; transparency=&quot;0&quot; visible=&quot;1&quot; weight=&quot;0.75&quot; /&gt;&lt;/element&gt;&lt;element field=&quot;topic&quot; type=&quot;autoshape&quot; autoShapeType=&quot;1&quot;&gt;&lt;position height=&quot;33.92811*scale*fontScale&quot; /&gt;&lt;paragraphformat alignment=&quot;1&quot; /&gt;&lt;textframe marginLeft=&quot;0&quot; verticalAnchor=&quot;3&quot; /&gt;&lt;/element&gt;&lt;element field=&quot;responsible&quot; type=&quot;autoshape&quot; autoShapeType=&quot;1&quot;&gt;&lt;paragraphformat alignment=&quot;1&quot; /&gt;&lt;textframe marginLeft=&quot;0&quot; verticalAnchor=&quot;3&quot; /&gt;&lt;/element&gt;&lt;element field=&quot;timeslot&quot; type=&quot;autoshape&quot; autoShapeType=&quot;1&quot;&gt;&lt;paragraphformat alignment=&quot;1&quot; /&gt;&lt;textframe marginLeft=&quot;0&quot; verticalAnchor=&quot;3&quot; /&gt;&lt;/element&gt;&lt;element field=&quot;pageno&quot; type=&quot;autoshape&quot; autoShapeType=&quot;1&quot;&gt;&lt;paragraphformat alignment=&quot;3&quot; /&gt;&lt;textframe marginLeft=&quot;0&quot; verticalAnchor=&quot;3&quot; /&gt;&lt;/element&gt;&lt;/case&gt;&lt;case level=&quot;1&quot; selected=&quot;1&quot; break=&quot;1&quot; topMinSpacing=&quot;10.5&quot; topMaxSpacing=&quot;10.5&quot; bottomMinSpacing=&quot;0&quot; bottomMaxSpacing=&quot;0&quot;&gt;&lt;element type=&quot;autoshape&quot; autoShapeType=&quot;1&quot; value=&quot;&quot;&gt;&lt;position left=&quot;-40.81252&quot; top=&quot;-5.25*scale*fontScale&quot; width=&quot;960&quot; height=&quot;1.25+itemHeight+10.5*scale*fontScale&quot; /&gt;&lt;fill foreColor=&quot;#0f2db3&quot; visible=&quot;1&quot; /&gt;&lt;/element&gt;&lt;element field=&quot;topic&quot; type=&quot;autoshape&quot; autoShapeType=&quot;1&quot;&gt;&lt;position height=&quot;33.92811*scale*fontScale&quot; /&gt;&lt;paragraphformat alignment=&quot;1&quot; /&gt;&lt;textframe marginLeft=&quot;0&quot; verticalAnchor=&quot;3&quot; /&gt;&lt;font color=&quot;14&quot; /&gt;&lt;/element&gt;&lt;element field=&quot;responsible&quot; type=&quot;autoshape&quot; autoShapeType=&quot;1&quot;&gt;&lt;paragraphformat alignment=&quot;1&quot; /&gt;&lt;textframe marginLeft=&quot;0&quot; verticalAnchor=&quot;3&quot; /&gt;&lt;font color=&quot;14&quot; /&gt;&lt;/element&gt;&lt;element field=&quot;timeslot&quot; type=&quot;autoshape&quot; autoShapeType=&quot;1&quot;&gt;&lt;paragraphformat alignment=&quot;1&quot; /&gt;&lt;textframe marginLeft=&quot;0&quot; verticalAnchor=&quot;3&quot; /&gt;&lt;font color=&quot;14&quot; /&gt;&lt;/element&gt;&lt;element field=&quot;pageno&quot; type=&quot;autoshape&quot; autoShapeType=&quot;1&quot;&gt;&lt;paragraphformat alignment=&quot;3&quot; /&gt;&lt;textframe marginLeft=&quot;0&quot; verticalAnchor=&quot;3&quot; /&gt;&lt;font color=&quot;14&quot; /&gt;&lt;/element&gt;&lt;/case&gt;&lt;/cases&gt;&lt;elements /&gt;&lt;/layout&gt;&lt;/layouts&gt;&lt;contents&gt;&lt;agenda name=&quot;New Agenda&quot; title=&quot;Agenda&quot; subtitle=&quot;&quot; sizingModeId=&quot;1&quot; fontSize=&quot;18&quot; fontSizeAuto=&quot;0&quot; startTime=&quot;540&quot; timeFormatId=&quot;1&quot; startItemNo=&quot;1&quot; createSingleAgendaSlide=&quot;1&quot; createSeparatingSlides=&quot;1&quot; createBackupSlide=&quot;1&quot; layoutId=&quot;491_1&quot; hideSeparatingSlides=&quot;0&quot; createSections=&quot;0&quot; singleSlideId=&quot;b8054def-c79d-47c0-9f7a-8efeb3159b17&quot; backupSlideId=&quot;3d8867f4-a236-4b80-9d82-d052c2a55f6c&quot;&gt;&lt;columns leftSpacing=&quot;0&quot; rightSpacing=&quot;0&quot;&gt;&lt;column field=&quot;itemno&quot; label=&quot;No.&quot; checked=&quot;1&quot; leftSpacing=&quot;0&quot; rightSpacing=&quot;0&quot; dock=&quot;1&quot; fixedWidth=&quot;35.71654&quot; /&gt;&lt;column field=&quot;topic&quot; label=&quot;Topic&quot; leftSpacing=&quot;14.60734&quot; rightDistribute=&quot;1&quot; dock=&quot;1&quot; rightSpacing=&quot;555.42&quot; /&gt;&lt;column field=&quot;responsible&quot; label=&quot;Responsible&quot; visible=&quot;1&quot; checked=&quot;0&quot; leftSpacing=&quot;10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20&quot; rightSpacing=&quot;0&quot; dock=&quot;2&quot; /&gt;&lt;column field=&quot;pageno&quot; label=&quot;Page No.&quot; visible=&quot;0&quot; checked=&quot;0&quot; leftSpacing=&quot;20&quot; rightSpacing=&quot;0&quot; dock=&quot;2&quot; /&gt;&lt;/columns&gt;&lt;items&gt;&lt;item duration=&quot;30&quot; id=&quot;9155fe4a-7d34-4c30-8c69-ab9cb796c05f&quot; parentId=&quot;&quot; level=&quot;1&quot; generateAgendaSlide=&quot;1&quot; showAgendaItem=&quot;1&quot; isBreak=&quot;0&quot; topic=&quot;Werbegeschenk&quot; agendaSlideId=&quot;d7a49385-cff5-4c77-86ef-8fe9481951d0&quot; /&gt;&lt;item duration=&quot;30&quot; id=&quot;6131e443-38e7-4276-87f7-f41c0712277e&quot; parentId=&quot;&quot; level=&quot;1&quot; generateAgendaSlide=&quot;1&quot; showAgendaItem=&quot;1&quot; isBreak=&quot;0&quot; topic=&quot;Montagekonzept&quot; agendaSlideId=&quot;0f8e3dea-11d9-4115-8b96-471584218ff7&quot; /&gt;&lt;item duration=&quot;30&quot; id=&quot;1a20ed3a-4db7-4382-9a7c-f85e299ba3a9&quot; parentId=&quot;&quot; level=&quot;1&quot; generateAgendaSlide=&quot;1&quot; showAgendaItem=&quot;1&quot; isBreak=&quot;0&quot; topic=&quot;Risiko der Montageeinrichtung&quot; agendaSlideId=&quot;f3a54ac1-a758-4c31-90fd-78c8b2e0f479&quot; /&gt;&lt;item duration=&quot;30&quot; id=&quot;31865e21-b103-4f16-82ad-3ee4e0ad8045&quot; parentId=&quot;&quot; level=&quot;1&quot; generateAgendaSlide=&quot;1&quot; showAgendaItem=&quot;1&quot; isBreak=&quot;0&quot; topic=&quot;Steuerung und Elektrische Sturktur&quot; agendaSlideId=&quot;3fc61e2c-d6c1-4a2f-bb18-6fb6370186bb&quot; /&gt;&lt;item duration=&quot;30&quot; id=&quot;118f0cd7-e1c5-4d65-badc-46f99b385a12&quot; parentId=&quot;&quot; level=&quot;1&quot; generateAgendaSlide=&quot;1&quot; showAgendaItem=&quot;1&quot; isBreak=&quot;0&quot; topic=&quot;Projektmanagment&quot; agendaSlideId=&quot;b018dc75-6a0a-43d2-8bf7-0074f75a4f94&quot; /&gt;&lt;item duration=&quot;30&quot; id=&quot;36c8668a-d9c1-4557-ac47-c69cc7feffa3&quot; parentId=&quot;&quot; level=&quot;1&quot; generateAgendaSlide=&quot;1&quot; showAgendaItem=&quot;1&quot; isBreak=&quot;0&quot; topic=&quot;Diskussion&quot; agendaSlideId=&quot;db711b56-5148-48d2-8e6b-59ad4a1eff00&quot; /&gt;&lt;/items&gt;&lt;/agenda&gt;&lt;agenda name=&quot;&quot; title=&quot;Agenda&quot; subtitle=&quot;&quot; sizingModeId=&quot;1&quot; fontSize=&quot;14&quot; fontSizeAuto=&quot;1&quot; startTime=&quot;540&quot; timeFormatId=&quot;1&quot; startItemNo=&quot;1&quot; createSingleAgendaSlide=&quot;1&quot; createSeparatingSlides=&quot;1&quot; createBackupSlide=&quot;1&quot; layoutId=&quot;491_1&quot; hideSeparatingSlides=&quot;0&quot; createSections=&quot;0&quot;&gt;&lt;columns&gt;&lt;column field=&quot;itemno&quot; label=&quot;No.&quot; checked=&quot;1&quot; leftSpacing=&quot;0&quot; rightSpacing=&quot;0&quot; dock=&quot;1&quot; fixedWidth=&quot;35.71654&quot; /&gt;&lt;column field=&quot;topic&quot; label=&quot;Topic&quot; leftSpacing=&quot;11.36126&quot; rightDistribute=&quot;1&quot; dock=&quot;1&quot; /&gt;&lt;column field=&quot;responsible&quot; label=&quot;Responsible&quot; visible=&quot;1&quot; checked=&quot;0&quot; leftSpacing=&quot;10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20&quot; rightSpacing=&quot;0&quot; dock=&quot;2&quot; /&gt;&lt;column field=&quot;pageno&quot; label=&quot;Page No.&quot; visible=&quot;0&quot; checked=&quot;0&quot; leftSpacing=&quot;20&quot; rightSpacing=&quot;0&quot; dock=&quot;2&quot; /&gt;&lt;/columns&gt;&lt;items /&gt;&lt;/agenda&gt;&lt;agenda name=&quot;New Agenda&quot; title=&quot;Agenda&quot; subtitle=&quot;&quot; sizingModeId=&quot;1&quot; fontSize=&quot;14&quot; fontSizeAuto=&quot;1&quot; startTime=&quot;540&quot; timeFormatId=&quot;1&quot; startItemNo=&quot;1&quot; createSingleAgendaSlide=&quot;1&quot; createSeparatingSlides=&quot;1&quot; createBackupSlide=&quot;1&quot; layoutId=&quot;491_1&quot; hideSeparatingSlides=&quot;0&quot; createSections=&quot;0&quot;&gt;&lt;columns&gt;&lt;column field=&quot;itemno&quot; label=&quot;No.&quot; checked=&quot;1&quot; leftSpacing=&quot;0&quot; rightSpacing=&quot;0&quot; dock=&quot;1&quot; fixedWidth=&quot;35.71654&quot; /&gt;&lt;column field=&quot;topic&quot; label=&quot;Topic&quot; leftSpacing=&quot;11.36126&quot; rightDistribute=&quot;1&quot; dock=&quot;1&quot; /&gt;&lt;column field=&quot;responsible&quot; label=&quot;Responsible&quot; visible=&quot;1&quot; checked=&quot;0&quot; leftSpacing=&quot;10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20&quot; rightSpacing=&quot;0&quot; dock=&quot;2&quot; /&gt;&lt;column field=&quot;pageno&quot; label=&quot;Page No.&quot; visible=&quot;0&quot; checked=&quot;0&quot; leftSpacing=&quot;20&quot; rightSpacing=&quot;0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Elemen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Topic"/>
  <p:tag name="EE4P_AGENDAWIZARD_CONTENT" val="/Montagekonzept"/>
  <p:tag name="EE4P_AGENDAWIZARD_PROPERTIES" val="101.3411/190.8925/262.7915/43.62189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ItemNo"/>
  <p:tag name="EE4P_AGENDAWIZARD_CONTENT" val="/02"/>
  <p:tag name="EE4P_AGENDAWIZARD_PROPERTIES" val="40.81252/190.8925/45.92126/43.62189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Elemen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Topic"/>
  <p:tag name="EE4P_AGENDAWIZARD_CONTENT" val="/Werbegeschenk"/>
  <p:tag name="EE4P_AGENDAWIZARD_PROPERTIES" val="101.3411/133.7706/262.7915/43.62189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ItemNo"/>
  <p:tag name="EE4P_AGENDAWIZARD_CONTENT" val="/01"/>
  <p:tag name="EE4P_AGENDAWIZARD_PROPERTIES" val="40.81252/133.7706/45.92126/43.62189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018dc75-6a0a-43d2-8bf7-0074f75a4f9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Topic"/>
  <p:tag name="EE4P_AGENDAWIZARD_CONTENT" val="/Steuerung und Elektrische Sturktur"/>
  <p:tag name="EE4P_AGENDAWIZARD_PROPERTIES" val="101.3411/305.1363/262.7915/43.6218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Topic"/>
  <p:tag name="EE4P_AGENDAWIZARD_CONTENT" val="/Diskussion"/>
  <p:tag name="EE4P_AGENDAWIZARD_PROPERTIES" val="101.3411/419.38/262.7915/43.62189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ItemNo"/>
  <p:tag name="EE4P_AGENDAWIZARD_CONTENT" val="/06"/>
  <p:tag name="EE4P_AGENDAWIZARD_PROPERTIES" val="40.81252/419.38/45.92126/43.62189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Elemen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Topic"/>
  <p:tag name="EE4P_AGENDAWIZARD_CONTENT" val="/Projektmanagment"/>
  <p:tag name="EE4P_AGENDAWIZARD_PROPERTIES" val="101.3411/362.2581/262.7915/43.62189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ItemNo"/>
  <p:tag name="EE4P_AGENDAWIZARD_CONTENT" val="/05"/>
  <p:tag name="EE4P_AGENDAWIZARD_PROPERTIES" val="40.81252/362.2581/45.92126/43.62189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Elemen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Topic"/>
  <p:tag name="EE4P_AGENDAWIZARD_CONTENT" val="/Steuerung und Elektrische Sturktur"/>
  <p:tag name="EE4P_AGENDAWIZARD_PROPERTIES" val="101.3411/305.1363/262.7915/43.6218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ItemNo"/>
  <p:tag name="EE4P_AGENDAWIZARD_CONTENT" val="/04"/>
  <p:tag name="EE4P_AGENDAWIZARD_PROPERTIES" val="40.81252/305.1363/45.92126/43.6218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Elemen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Topic"/>
  <p:tag name="EE4P_AGENDAWIZARD_CONTENT" val="/Risiko der Montageeinrichtung"/>
  <p:tag name="EE4P_AGENDAWIZARD_PROPERTIES" val="101.3411/248.0144/262.7915/43.6218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ItemNo"/>
  <p:tag name="EE4P_AGENDAWIZARD_CONTENT" val="/04"/>
  <p:tag name="EE4P_AGENDAWIZARD_PROPERTIES" val="40.81252/305.1363/45.92126/43.6218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ItemNo"/>
  <p:tag name="EE4P_AGENDAWIZARD_CONTENT" val="/03"/>
  <p:tag name="EE4P_AGENDAWIZARD_PROPERTIES" val="40.81252/248.0144/45.92126/43.62189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Topic"/>
  <p:tag name="EE4P_AGENDAWIZARD_CONTENT" val="/Montagekonzept"/>
  <p:tag name="EE4P_AGENDAWIZARD_PROPERTIES" val="101.3411/190.8925/262.7915/43.62189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ItemNo"/>
  <p:tag name="EE4P_AGENDAWIZARD_CONTENT" val="/02"/>
  <p:tag name="EE4P_AGENDAWIZARD_PROPERTIES" val="40.81252/190.8925/45.92126/43.62189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Elemen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Topic"/>
  <p:tag name="EE4P_AGENDAWIZARD_CONTENT" val="/Werbegeschenk"/>
  <p:tag name="EE4P_AGENDAWIZARD_PROPERTIES" val="101.3411/133.7706/262.7915/43.62189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ItemNo"/>
  <p:tag name="EE4P_AGENDAWIZARD_CONTENT" val="/01"/>
  <p:tag name="EE4P_AGENDAWIZARD_PROPERTIES" val="40.81252/133.7706/45.92126/43.62189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db711b56-5148-48d2-8e6b-59ad4a1eff0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Element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Topic"/>
  <p:tag name="EE4P_AGENDAWIZARD_CONTENT" val="/Diskussion"/>
  <p:tag name="EE4P_AGENDAWIZARD_PROPERTIES" val="101.3411/419.38/262.7915/43.62189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ItemNo"/>
  <p:tag name="EE4P_AGENDAWIZARD_CONTENT" val="/06"/>
  <p:tag name="EE4P_AGENDAWIZARD_PROPERTIES" val="40.81252/419.38/45.92126/43.62189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Elemen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Topic"/>
  <p:tag name="EE4P_AGENDAWIZARD_CONTENT" val="/Projektmanagment"/>
  <p:tag name="EE4P_AGENDAWIZARD_PROPERTIES" val="101.3411/362.2581/262.7915/43.62189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ItemNo"/>
  <p:tag name="EE4P_AGENDAWIZARD_CONTENT" val="/05"/>
  <p:tag name="EE4P_AGENDAWIZARD_PROPERTIES" val="40.81252/362.2581/45.92126/43.62189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Elemen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Topic"/>
  <p:tag name="EE4P_AGENDAWIZARD_CONTENT" val="/Steuerung und Elektrische Sturktur"/>
  <p:tag name="EE4P_AGENDAWIZARD_PROPERTIES" val="101.3411/305.1363/262.7915/43.6218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ItemNo"/>
  <p:tag name="EE4P_AGENDAWIZARD_CONTENT" val="/04"/>
  <p:tag name="EE4P_AGENDAWIZARD_PROPERTIES" val="40.81252/305.1363/45.92126/43.6218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Elemen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Topic"/>
  <p:tag name="EE4P_AGENDAWIZARD_CONTENT" val="/Risiko der Montageeinrichtung"/>
  <p:tag name="EE4P_AGENDAWIZARD_PROPERTIES" val="101.3411/248.0144/262.7915/43.6218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Topic"/>
  <p:tag name="EE4P_AGENDAWIZARD_CONTENT" val="/Risiko der Montageeinrichtung"/>
  <p:tag name="EE4P_AGENDAWIZARD_PROPERTIES" val="101.3411/248.0144/262.7915/43.62189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ItemNo"/>
  <p:tag name="EE4P_AGENDAWIZARD_CONTENT" val="/03"/>
  <p:tag name="EE4P_AGENDAWIZARD_PROPERTIES" val="40.81252/248.0144/45.92126/43.62189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Topic"/>
  <p:tag name="EE4P_AGENDAWIZARD_CONTENT" val="/Montagekonzept"/>
  <p:tag name="EE4P_AGENDAWIZARD_PROPERTIES" val="101.3411/190.8925/262.7915/43.62189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ItemNo"/>
  <p:tag name="EE4P_AGENDAWIZARD_CONTENT" val="/02"/>
  <p:tag name="EE4P_AGENDAWIZARD_PROPERTIES" val="40.81252/190.8925/45.92126/43.62189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Elemen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Topic"/>
  <p:tag name="EE4P_AGENDAWIZARD_CONTENT" val="/Werbegeschenk"/>
  <p:tag name="EE4P_AGENDAWIZARD_PROPERTIES" val="101.3411/133.7706/262.7915/43.62189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ItemNo"/>
  <p:tag name="EE4P_AGENDAWIZARD_CONTENT" val="/01"/>
  <p:tag name="EE4P_AGENDAWIZARD_PROPERTIES" val="40.81252/133.7706/45.92126/43.62189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d8867f4-a236-4b80-9d82-d052c2a55f6c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ItemNo"/>
  <p:tag name="EE4P_AGENDAWIZARD_CONTENT" val="/03"/>
  <p:tag name="EE4P_AGENDAWIZARD_PROPERTIES" val="40.81252/248.0144/45.92126/43.62189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d8867f4-a236-4b80-9d82-d052c2a55f6c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Topic"/>
  <p:tag name="EE4P_AGENDAWIZARD_CONTENT" val="/Montagekonzept"/>
  <p:tag name="EE4P_AGENDAWIZARD_PROPERTIES" val="101.3411/190.8925/262.7915/43.6218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ItemNo"/>
  <p:tag name="EE4P_AGENDAWIZARD_CONTENT" val="/02"/>
  <p:tag name="EE4P_AGENDAWIZARD_PROPERTIES" val="40.81252/190.8925/45.92126/43.6218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8054def-c79d-47c0-9f7a-8efeb3159b1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Topic"/>
  <p:tag name="EE4P_AGENDAWIZARD_CONTENT" val="/Werbegeschenk"/>
  <p:tag name="EE4P_AGENDAWIZARD_PROPERTIES" val="101.3411/133.7706/262.7915/43.6218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ItemNo"/>
  <p:tag name="EE4P_AGENDAWIZARD_CONTENT" val="/01"/>
  <p:tag name="EE4P_AGENDAWIZARD_PROPERTIES" val="40.81252/133.7706/45.92126/43.62189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d7a49385-cff5-4c77-86ef-8fe9481951d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Topic"/>
  <p:tag name="EE4P_AGENDAWIZARD_CONTENT" val="/Diskussion"/>
  <p:tag name="EE4P_AGENDAWIZARD_PROPERTIES" val="101.3411/419.38/262.7915/43.6218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ItemNo"/>
  <p:tag name="EE4P_AGENDAWIZARD_CONTENT" val="/06"/>
  <p:tag name="EE4P_AGENDAWIZARD_PROPERTIES" val="40.81252/419.38/45.92126/43.62189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Elemen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Topic"/>
  <p:tag name="EE4P_AGENDAWIZARD_CONTENT" val="/Projektmanagment"/>
  <p:tag name="EE4P_AGENDAWIZARD_PROPERTIES" val="101.3411/362.2581/262.7915/43.6218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ItemNo"/>
  <p:tag name="EE4P_AGENDAWIZARD_CONTENT" val="/05"/>
  <p:tag name="EE4P_AGENDAWIZARD_PROPERTIES" val="40.81252/362.2581/45.92126/43.6218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Elemen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Topic"/>
  <p:tag name="EE4P_AGENDAWIZARD_CONTENT" val="/Steuerung und Elektrische Sturktur"/>
  <p:tag name="EE4P_AGENDAWIZARD_PROPERTIES" val="101.3411/305.1363/262.7915/43.6218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ItemNo"/>
  <p:tag name="EE4P_AGENDAWIZARD_CONTENT" val="/04"/>
  <p:tag name="EE4P_AGENDAWIZARD_PROPERTIES" val="40.81252/305.1363/45.92126/43.6218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Elemen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Topic"/>
  <p:tag name="EE4P_AGENDAWIZARD_CONTENT" val="/Risiko der Montageeinrichtung"/>
  <p:tag name="EE4P_AGENDAWIZARD_PROPERTIES" val="101.3411/248.0144/262.7915/43.62189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ItemNo"/>
  <p:tag name="EE4P_AGENDAWIZARD_CONTENT" val="/03"/>
  <p:tag name="EE4P_AGENDAWIZARD_PROPERTIES" val="40.81252/248.0144/45.92126/43.6218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Topic"/>
  <p:tag name="EE4P_AGENDAWIZARD_CONTENT" val="/Montagekonzept"/>
  <p:tag name="EE4P_AGENDAWIZARD_PROPERTIES" val="101.3411/190.8925/262.7915/43.62189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ItemNo"/>
  <p:tag name="EE4P_AGENDAWIZARD_CONTENT" val="/02"/>
  <p:tag name="EE4P_AGENDAWIZARD_PROPERTIES" val="40.81252/190.8925/45.92126/43.6218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Elemen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Topic"/>
  <p:tag name="EE4P_AGENDAWIZARD_CONTENT" val="/Werbegeschenk"/>
  <p:tag name="EE4P_AGENDAWIZARD_PROPERTIES" val="101.3411/133.7706/262.7915/43.62189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ItemNo"/>
  <p:tag name="EE4P_AGENDAWIZARD_CONTENT" val="/01"/>
  <p:tag name="EE4P_AGENDAWIZARD_PROPERTIES" val="40.81252/133.7706/45.92126/43.6218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f8e3dea-11d9-4115-8b96-471584218ff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Topic"/>
  <p:tag name="EE4P_AGENDAWIZARD_CONTENT" val="/Diskussion"/>
  <p:tag name="EE4P_AGENDAWIZARD_PROPERTIES" val="101.3411/419.38/262.7915/43.62189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ItemNo"/>
  <p:tag name="EE4P_AGENDAWIZARD_CONTENT" val="/06"/>
  <p:tag name="EE4P_AGENDAWIZARD_PROPERTIES" val="40.81252/419.38/45.92126/43.62189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Elemen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Topic"/>
  <p:tag name="EE4P_AGENDAWIZARD_CONTENT" val="/Diskussion"/>
  <p:tag name="EE4P_AGENDAWIZARD_PROPERTIES" val="101.3411/419.38/262.7915/43.62189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Topic"/>
  <p:tag name="EE4P_AGENDAWIZARD_CONTENT" val="/Projektmanagment"/>
  <p:tag name="EE4P_AGENDAWIZARD_PROPERTIES" val="101.3411/362.2581/262.7915/43.62189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ItemNo"/>
  <p:tag name="EE4P_AGENDAWIZARD_CONTENT" val="/05"/>
  <p:tag name="EE4P_AGENDAWIZARD_PROPERTIES" val="40.81252/362.2581/45.92126/43.62189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Elemen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Topic"/>
  <p:tag name="EE4P_AGENDAWIZARD_CONTENT" val="/Steuerung und Elektrische Sturktur"/>
  <p:tag name="EE4P_AGENDAWIZARD_PROPERTIES" val="101.3411/305.1363/262.7915/43.6218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ItemNo"/>
  <p:tag name="EE4P_AGENDAWIZARD_CONTENT" val="/04"/>
  <p:tag name="EE4P_AGENDAWIZARD_PROPERTIES" val="40.81252/305.1363/45.92126/43.6218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Elemen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Topic"/>
  <p:tag name="EE4P_AGENDAWIZARD_CONTENT" val="/Risiko der Montageeinrichtung"/>
  <p:tag name="EE4P_AGENDAWIZARD_PROPERTIES" val="101.3411/248.0144/262.7915/43.62189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ItemNo"/>
  <p:tag name="EE4P_AGENDAWIZARD_CONTENT" val="/03"/>
  <p:tag name="EE4P_AGENDAWIZARD_PROPERTIES" val="40.81252/248.0144/45.92126/43.62189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Topic"/>
  <p:tag name="EE4P_AGENDAWIZARD_CONTENT" val="/Montagekonzept"/>
  <p:tag name="EE4P_AGENDAWIZARD_PROPERTIES" val="101.3411/190.8925/262.7915/43.6218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ItemNo"/>
  <p:tag name="EE4P_AGENDAWIZARD_CONTENT" val="/06"/>
  <p:tag name="EE4P_AGENDAWIZARD_PROPERTIES" val="40.81252/419.38/45.92126/43.62189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ItemNo"/>
  <p:tag name="EE4P_AGENDAWIZARD_CONTENT" val="/02"/>
  <p:tag name="EE4P_AGENDAWIZARD_PROPERTIES" val="40.81252/190.8925/45.92126/43.62189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Elemen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Topic"/>
  <p:tag name="EE4P_AGENDAWIZARD_CONTENT" val="/Werbegeschenk"/>
  <p:tag name="EE4P_AGENDAWIZARD_PROPERTIES" val="101.3411/133.7706/262.7915/43.62189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ItemNo"/>
  <p:tag name="EE4P_AGENDAWIZARD_CONTENT" val="/01"/>
  <p:tag name="EE4P_AGENDAWIZARD_PROPERTIES" val="40.81252/133.7706/45.92126/43.62189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3a54ac1-a758-4c31-90fd-78c8b2e0f479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Topic"/>
  <p:tag name="EE4P_AGENDAWIZARD_CONTENT" val="/Diskussion"/>
  <p:tag name="EE4P_AGENDAWIZARD_PROPERTIES" val="101.3411/419.38/262.7915/43.62189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ItemNo"/>
  <p:tag name="EE4P_AGENDAWIZARD_CONTENT" val="/06"/>
  <p:tag name="EE4P_AGENDAWIZARD_PROPERTIES" val="40.81252/419.38/45.92126/43.6218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Element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Elemen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Topic"/>
  <p:tag name="EE4P_AGENDAWIZARD_CONTENT" val="/Projektmanagment"/>
  <p:tag name="EE4P_AGENDAWIZARD_PROPERTIES" val="101.3411/362.2581/262.7915/43.62189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ItemNo"/>
  <p:tag name="EE4P_AGENDAWIZARD_CONTENT" val="/05"/>
  <p:tag name="EE4P_AGENDAWIZARD_PROPERTIES" val="40.81252/362.2581/45.92126/43.62189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Elemen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Topic"/>
  <p:tag name="EE4P_AGENDAWIZARD_CONTENT" val="/Steuerung und Elektrische Sturktur"/>
  <p:tag name="EE4P_AGENDAWIZARD_PROPERTIES" val="101.3411/305.1363/262.7915/43.6218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ItemNo"/>
  <p:tag name="EE4P_AGENDAWIZARD_CONTENT" val="/04"/>
  <p:tag name="EE4P_AGENDAWIZARD_PROPERTIES" val="40.81252/305.1363/45.92126/43.6218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Elemen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Topic"/>
  <p:tag name="EE4P_AGENDAWIZARD_CONTENT" val="/Risiko der Montageeinrichtung"/>
  <p:tag name="EE4P_AGENDAWIZARD_PROPERTIES" val="101.3411/248.0144/262.7915/43.62189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ItemNo"/>
  <p:tag name="EE4P_AGENDAWIZARD_CONTENT" val="/03"/>
  <p:tag name="EE4P_AGENDAWIZARD_PROPERTIES" val="40.81252/248.0144/45.92126/43.62189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Elemen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Topic"/>
  <p:tag name="EE4P_AGENDAWIZARD_CONTENT" val="/Projektmanagment"/>
  <p:tag name="EE4P_AGENDAWIZARD_PROPERTIES" val="101.3411/362.2581/262.7915/43.62189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Topic"/>
  <p:tag name="EE4P_AGENDAWIZARD_CONTENT" val="/Montagekonzept"/>
  <p:tag name="EE4P_AGENDAWIZARD_PROPERTIES" val="101.3411/190.8925/262.7915/43.62189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f8e3dea-11d9-4115-8b96-471584218ff7_ItemNo"/>
  <p:tag name="EE4P_AGENDAWIZARD_CONTENT" val="/02"/>
  <p:tag name="EE4P_AGENDAWIZARD_PROPERTIES" val="40.81252/190.8925/45.92126/43.62189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Elemen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Topic"/>
  <p:tag name="EE4P_AGENDAWIZARD_CONTENT" val="/Werbegeschenk"/>
  <p:tag name="EE4P_AGENDAWIZARD_PROPERTIES" val="101.3411/133.7706/262.7915/43.62189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7a49385-cff5-4c77-86ef-8fe9481951d0_ItemNo"/>
  <p:tag name="EE4P_AGENDAWIZARD_CONTENT" val="/01"/>
  <p:tag name="EE4P_AGENDAWIZARD_PROPERTIES" val="40.81252/133.7706/45.92126/43.62189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fc61e2c-d6c1-4a2f-bb18-6fb6370186bb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Elemen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Topic"/>
  <p:tag name="EE4P_AGENDAWIZARD_CONTENT" val="/Diskussion"/>
  <p:tag name="EE4P_AGENDAWIZARD_PROPERTIES" val="101.3411/419.38/262.7915/43.62189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ItemNo"/>
  <p:tag name="EE4P_AGENDAWIZARD_CONTENT" val="/05"/>
  <p:tag name="EE4P_AGENDAWIZARD_PROPERTIES" val="40.81252/362.2581/45.92126/43.62189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b711b56-5148-48d2-8e6b-59ad4a1eff00_ItemNo"/>
  <p:tag name="EE4P_AGENDAWIZARD_CONTENT" val="/06"/>
  <p:tag name="EE4P_AGENDAWIZARD_PROPERTIES" val="40.81252/419.38/45.92126/43.62189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Elemen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Topic"/>
  <p:tag name="EE4P_AGENDAWIZARD_CONTENT" val="/Projektmanagment"/>
  <p:tag name="EE4P_AGENDAWIZARD_PROPERTIES" val="101.3411/362.2581/262.7915/43.62189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018dc75-6a0a-43d2-8bf7-0074f75a4f94_ItemNo"/>
  <p:tag name="EE4P_AGENDAWIZARD_CONTENT" val="/05"/>
  <p:tag name="EE4P_AGENDAWIZARD_PROPERTIES" val="40.81252/362.2581/45.92126/43.62189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Elemen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Topic"/>
  <p:tag name="EE4P_AGENDAWIZARD_CONTENT" val="/Steuerung und Elektrische Sturktur"/>
  <p:tag name="EE4P_AGENDAWIZARD_PROPERTIES" val="101.3411/305.1363/262.7915/43.6218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c61e2c-d6c1-4a2f-bb18-6fb6370186bb_ItemNo"/>
  <p:tag name="EE4P_AGENDAWIZARD_CONTENT" val="/04"/>
  <p:tag name="EE4P_AGENDAWIZARD_PROPERTIES" val="40.81252/305.1363/45.92126/43.6218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Elemen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Topic"/>
  <p:tag name="EE4P_AGENDAWIZARD_CONTENT" val="/Risiko der Montageeinrichtung"/>
  <p:tag name="EE4P_AGENDAWIZARD_PROPERTIES" val="101.3411/248.0144/262.7915/43.62189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a54ac1-a758-4c31-90fd-78c8b2e0f479_ItemNo"/>
  <p:tag name="EE4P_AGENDAWIZARD_CONTENT" val="/03"/>
  <p:tag name="EE4P_AGENDAWIZARD_PROPERTIES" val="40.81252/248.0144/45.92126/43.62189"/>
</p:tagLst>
</file>

<file path=ppt/theme/theme1.xml><?xml version="1.0" encoding="utf-8"?>
<a:theme xmlns:a="http://schemas.openxmlformats.org/drawingml/2006/main" name="DHBW x Zeiss Master">
  <a:themeElements>
    <a:clrScheme name="ZEIS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55ED2"/>
      </a:accent1>
      <a:accent2>
        <a:srgbClr val="4895DD"/>
      </a:accent2>
      <a:accent3>
        <a:srgbClr val="6AB0E2"/>
      </a:accent3>
      <a:accent4>
        <a:srgbClr val="A7CCED"/>
      </a:accent4>
      <a:accent5>
        <a:srgbClr val="C6DAF2"/>
      </a:accent5>
      <a:accent6>
        <a:srgbClr val="E3F1FC"/>
      </a:accent6>
      <a:hlink>
        <a:srgbClr val="008BD0"/>
      </a:hlink>
      <a:folHlink>
        <a:srgbClr val="000000"/>
      </a:folHlink>
    </a:clrScheme>
    <a:fontScheme name="ZEISS">
      <a:majorFont>
        <a:latin typeface="ZEISS Frutiger Next W1G Heavy"/>
        <a:ea typeface=""/>
        <a:cs typeface=""/>
      </a:majorFont>
      <a:minorFont>
        <a:latin typeface="ZEISS Frutiger Next W1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6F6F6"/>
        </a:solidFill>
        <a:ln>
          <a:noFill/>
        </a:ln>
      </a:spPr>
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8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ZEISS Frutiger Next W1G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8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ZEISS Frutiger Next W1G"/>
            <a:ea typeface="+mn-ea"/>
            <a:cs typeface="+mn-cs"/>
          </a:defRPr>
        </a:defPPr>
      </a:lstStyle>
    </a:txDef>
  </a:objectDefaults>
  <a:extraClrSchemeLst/>
  <a:custClrLst>
    <a:custClr name="ZEISS White">
      <a:srgbClr val="FFFFFF"/>
    </a:custClr>
    <a:custClr name="ZEISS Indigo">
      <a:srgbClr val="141E8C"/>
    </a:custClr>
    <a:custClr name="ZEISS Black">
      <a:srgbClr val="000000"/>
    </a:custClr>
    <a:custClr name="ZEISS Cyan">
      <a:srgbClr val="008BD0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ZEISS Black">
      <a:srgbClr val="000000"/>
    </a:custClr>
    <a:custClr name="ZEISS Gray 0 Ultradark">
      <a:srgbClr val="333333"/>
    </a:custClr>
    <a:custClr name="ZEISS Gray 1 Dark">
      <a:srgbClr val="4D4D4D"/>
    </a:custClr>
    <a:custClr name="ZEISS Gray 2 Semidark">
      <a:srgbClr val="666666"/>
    </a:custClr>
    <a:custClr name="ZEISS Gray 3 Medium">
      <a:srgbClr val="7F7F7F"/>
    </a:custClr>
    <a:custClr name="ZEISS Gray 4 Semilight">
      <a:srgbClr val="9B9B9B"/>
    </a:custClr>
    <a:custClr name="ZEISS Gray 5 Light">
      <a:srgbClr val="BCBCBC"/>
    </a:custClr>
    <a:custClr name="ZEISS Gray 6 Ultralight">
      <a:srgbClr val="DFDFDF"/>
    </a:custClr>
    <a:custClr name="ZEISS Gray 7 Semiwhite">
      <a:srgbClr val="F6F6F6"/>
    </a:custClr>
    <a:custClr name="ZEISS White">
      <a:srgbClr val="FFFFFF"/>
    </a:custClr>
    <a:custClr name="ZEISS Purple Red">
      <a:srgbClr val="A70240"/>
    </a:custClr>
    <a:custClr name="ZEISS Bright Orange Neon">
      <a:srgbClr val="FF1A00"/>
    </a:custClr>
    <a:custClr name="ZEISS Orange">
      <a:srgbClr val="EC6500"/>
    </a:custClr>
    <a:custClr name="ZEISS Bright Lemon">
      <a:srgbClr val="FECB00"/>
    </a:custClr>
    <a:custClr name="ZEISS Light Green">
      <a:srgbClr val="DEDE4C"/>
    </a:custClr>
    <a:custClr name="ZEISS Green">
      <a:srgbClr val="3C8A2E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NEU ZEISS-Praesentationsmaster-DE" id="{575E5CB2-DA27-4C96-8E76-310F266B42A9}" vid="{45A3F833-8E27-487E-A0AD-57D5A5C944E3}"/>
    </a:ext>
  </a:extLst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DBA7C9CEF7F57429917BEEC53471633" ma:contentTypeVersion="2" ma:contentTypeDescription="Create a new document." ma:contentTypeScope="" ma:versionID="97b120001eb5c0e0802405b566270281">
  <xsd:schema xmlns:xsd="http://www.w3.org/2001/XMLSchema" xmlns:xs="http://www.w3.org/2001/XMLSchema" xmlns:p="http://schemas.microsoft.com/office/2006/metadata/properties" xmlns:ns2="b7680c80-ca03-400e-aa7f-e46cf9ec65ea" targetNamespace="http://schemas.microsoft.com/office/2006/metadata/properties" ma:root="true" ma:fieldsID="1e3beadebc922b68fc8dc2d05203a0dd" ns2:_="">
    <xsd:import namespace="b7680c80-ca03-400e-aa7f-e46cf9ec65e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680c80-ca03-400e-aa7f-e46cf9ec65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47888D9-541E-4A34-8B3A-51E0F06696AE}">
  <ds:schemaRefs>
    <ds:schemaRef ds:uri="b7680c80-ca03-400e-aa7f-e46cf9ec65e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AB29623-CE4D-4D72-84CB-7E7DC0E119A2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b7680c80-ca03-400e-aa7f-e46cf9ec65ea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FA3349B-2FBF-4342-B6C8-BE663E5E66D8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28042244-bb51-4cd6-8034-7776fa3703e8}" enabled="0" method="" siteId="{28042244-bb51-4cd6-8034-7776fa3703e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14</Words>
  <Application>Microsoft Office PowerPoint</Application>
  <PresentationFormat>Breitbild</PresentationFormat>
  <Paragraphs>433</Paragraphs>
  <Slides>41</Slides>
  <Notes>5</Notes>
  <HiddenSlides>0</HiddenSlides>
  <MMClips>0</MMClips>
  <ScaleCrop>false</ScaleCrop>
  <HeadingPairs>
    <vt:vector size="4" baseType="variant">
      <vt:variant>
        <vt:lpstr>Design</vt:lpstr>
      </vt:variant>
      <vt:variant>
        <vt:i4>2</vt:i4>
      </vt:variant>
      <vt:variant>
        <vt:lpstr>Folientitel</vt:lpstr>
      </vt:variant>
      <vt:variant>
        <vt:i4>41</vt:i4>
      </vt:variant>
    </vt:vector>
  </HeadingPairs>
  <TitlesOfParts>
    <vt:vector size="43" baseType="lpstr">
      <vt:lpstr>DHBW x Zeiss Master</vt:lpstr>
      <vt:lpstr>Benutzerdefiniertes Design</vt:lpstr>
      <vt:lpstr>Zwischenpräsentation</vt:lpstr>
      <vt:lpstr>Agenda</vt:lpstr>
      <vt:lpstr>Agenda</vt:lpstr>
      <vt:lpstr>Werbegeschenk</vt:lpstr>
      <vt:lpstr>Werbegeschenk</vt:lpstr>
      <vt:lpstr>Werbegeschenk</vt:lpstr>
      <vt:lpstr>Werbegeschenk</vt:lpstr>
      <vt:lpstr>Werbegeschenk</vt:lpstr>
      <vt:lpstr>Werbegeschenk</vt:lpstr>
      <vt:lpstr>Agenda</vt:lpstr>
      <vt:lpstr>Montagekonzept</vt:lpstr>
      <vt:lpstr>Montagekonzept</vt:lpstr>
      <vt:lpstr>Montagekonzept</vt:lpstr>
      <vt:lpstr>Montagekonzept</vt:lpstr>
      <vt:lpstr>Montagekonzept</vt:lpstr>
      <vt:lpstr>Montagekonzept</vt:lpstr>
      <vt:lpstr>Montagekonzept</vt:lpstr>
      <vt:lpstr>Montagekonzept</vt:lpstr>
      <vt:lpstr>Montagekonzept</vt:lpstr>
      <vt:lpstr>Montagekonzept</vt:lpstr>
      <vt:lpstr>Montagekonzept</vt:lpstr>
      <vt:lpstr>Montagekonzept</vt:lpstr>
      <vt:lpstr>Montagekonzept</vt:lpstr>
      <vt:lpstr>Agenda</vt:lpstr>
      <vt:lpstr>Risiken der Montageeinrichtung</vt:lpstr>
      <vt:lpstr>Risiken der Montageeinrichtung</vt:lpstr>
      <vt:lpstr>Risiken der Montageeinrichtung</vt:lpstr>
      <vt:lpstr>Agenda</vt:lpstr>
      <vt:lpstr>Elektrische Struktur und Steuerung</vt:lpstr>
      <vt:lpstr>Elektrische Struktur und Steuerung</vt:lpstr>
      <vt:lpstr>Agenda</vt:lpstr>
      <vt:lpstr>Projektmanagement</vt:lpstr>
      <vt:lpstr>Projektmanagement</vt:lpstr>
      <vt:lpstr>Projektmanagement</vt:lpstr>
      <vt:lpstr>Projektmanagement</vt:lpstr>
      <vt:lpstr>Agenda</vt:lpstr>
      <vt:lpstr>Einlegung Magneten</vt:lpstr>
      <vt:lpstr>Goodie-Box</vt:lpstr>
      <vt:lpstr>Quellen</vt:lpstr>
      <vt:lpstr>Quellen</vt:lpstr>
      <vt:lpstr>DailyM8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EISS Präsentationen Präsentationsmaster</dc:title>
  <dc:creator>Marvin Bullinger</dc:creator>
  <cp:lastModifiedBy>maurerh.tmb22</cp:lastModifiedBy>
  <cp:revision>5</cp:revision>
  <dcterms:created xsi:type="dcterms:W3CDTF">2023-03-09T17:49:08Z</dcterms:created>
  <dcterms:modified xsi:type="dcterms:W3CDTF">2025-06-25T14:0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DBA7C9CEF7F57429917BEEC53471633</vt:lpwstr>
  </property>
  <property fmtid="{D5CDD505-2E9C-101B-9397-08002B2CF9AE}" pid="3" name="Order">
    <vt:r8>16982000</vt:r8>
  </property>
  <property fmtid="{D5CDD505-2E9C-101B-9397-08002B2CF9AE}" pid="4" name="xd_Signature">
    <vt:bool>false</vt:bool>
  </property>
  <property fmtid="{D5CDD505-2E9C-101B-9397-08002B2CF9AE}" pid="5" name="SharedWithUsers">
    <vt:lpwstr>660;#Roder, Thomas;#659;#Kressirer, Peter;#661;#Leoff, Louisa</vt:lpwstr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</Properties>
</file>